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4.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2.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25"/>
    <p:sldMasterId id="2147484229" r:id="rId26"/>
    <p:sldMasterId id="2147484270" r:id="rId27"/>
    <p:sldMasterId id="2147484321" r:id="rId28"/>
    <p:sldMasterId id="2147484368" r:id="rId29"/>
  </p:sldMasterIdLst>
  <p:notesMasterIdLst>
    <p:notesMasterId r:id="rId59"/>
  </p:notesMasterIdLst>
  <p:handoutMasterIdLst>
    <p:handoutMasterId r:id="rId60"/>
  </p:handoutMasterIdLst>
  <p:sldIdLst>
    <p:sldId id="329" r:id="rId30"/>
    <p:sldId id="317" r:id="rId31"/>
    <p:sldId id="318" r:id="rId32"/>
    <p:sldId id="330" r:id="rId33"/>
    <p:sldId id="336" r:id="rId34"/>
    <p:sldId id="337" r:id="rId35"/>
    <p:sldId id="361" r:id="rId36"/>
    <p:sldId id="338" r:id="rId37"/>
    <p:sldId id="347" r:id="rId38"/>
    <p:sldId id="341" r:id="rId39"/>
    <p:sldId id="343" r:id="rId40"/>
    <p:sldId id="344" r:id="rId41"/>
    <p:sldId id="345" r:id="rId42"/>
    <p:sldId id="346" r:id="rId43"/>
    <p:sldId id="348" r:id="rId44"/>
    <p:sldId id="357" r:id="rId45"/>
    <p:sldId id="349" r:id="rId46"/>
    <p:sldId id="350" r:id="rId47"/>
    <p:sldId id="351" r:id="rId48"/>
    <p:sldId id="358" r:id="rId49"/>
    <p:sldId id="352" r:id="rId50"/>
    <p:sldId id="353" r:id="rId51"/>
    <p:sldId id="354" r:id="rId52"/>
    <p:sldId id="359" r:id="rId53"/>
    <p:sldId id="355" r:id="rId54"/>
    <p:sldId id="360" r:id="rId55"/>
    <p:sldId id="356" r:id="rId56"/>
    <p:sldId id="335" r:id="rId57"/>
    <p:sldId id="323" r:id="rId5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DE1FFD5-51E7-46B9-A088-E16EC44D3189}">
          <p14:sldIdLst>
            <p14:sldId id="329"/>
            <p14:sldId id="317"/>
          </p14:sldIdLst>
        </p14:section>
        <p14:section name="Lesson 1" id="{AEEB9206-BF9A-4149-867D-9C483B90393C}">
          <p14:sldIdLst>
            <p14:sldId id="318"/>
            <p14:sldId id="330"/>
            <p14:sldId id="336"/>
            <p14:sldId id="337"/>
            <p14:sldId id="361"/>
            <p14:sldId id="338"/>
            <p14:sldId id="347"/>
          </p14:sldIdLst>
        </p14:section>
        <p14:section name="Lesson 2" id="{308B2710-D3AF-4C4B-BD2E-376131B90737}">
          <p14:sldIdLst>
            <p14:sldId id="341"/>
            <p14:sldId id="343"/>
            <p14:sldId id="344"/>
            <p14:sldId id="345"/>
            <p14:sldId id="346"/>
          </p14:sldIdLst>
        </p14:section>
        <p14:section name="Lesson 3" id="{6611AB91-6FD4-48DE-9ADE-39DA23024BC6}">
          <p14:sldIdLst>
            <p14:sldId id="348"/>
            <p14:sldId id="357"/>
            <p14:sldId id="349"/>
            <p14:sldId id="350"/>
          </p14:sldIdLst>
        </p14:section>
        <p14:section name="Lesson 4" id="{EBBBC7CC-F643-4B8B-9B59-E7D6AF2CD42E}">
          <p14:sldIdLst>
            <p14:sldId id="351"/>
            <p14:sldId id="358"/>
            <p14:sldId id="352"/>
            <p14:sldId id="353"/>
            <p14:sldId id="354"/>
            <p14:sldId id="359"/>
            <p14:sldId id="355"/>
            <p14:sldId id="360"/>
            <p14:sldId id="356"/>
          </p14:sldIdLst>
        </p14:section>
        <p14:section name="Knowledge Check" id="{DABB6058-A673-40C6-A856-85992C8EA45B}">
          <p14:sldIdLst>
            <p14:sldId id="335"/>
            <p14:sldId id="32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DE434D-1F2A-D37E-60AE-F079A9D58EC6}" name="Filipe Moreira" initials="FM" userId="S::fimorei@microsoft.com::fa9bf1d2-47eb-439d-b2f4-ca03a48a6bbf" providerId="AD"/>
  <p188:author id="{B3A03A83-8476-0708-893D-02B86E8EADE6}" name="Nick Salch" initials="NS" userId="S::nicksalc@microsoft.com::47ab95ae-ac26-4648-966b-37822820099a" providerId="AD"/>
  <p188:author id="{3EAA0BB8-ADED-0607-8649-BECD004EB963}" name="Felipe De Assis" initials="FDA" userId="S::fassis@microsoft.com::fedc4fe9-b909-48c3-b8ca-78d40727f11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525252"/>
    <a:srgbClr val="0078D7"/>
    <a:srgbClr val="00188F"/>
    <a:srgbClr val="107C10"/>
    <a:srgbClr val="008272"/>
    <a:srgbClr val="B4009E"/>
    <a:srgbClr val="00BCF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A72A0A-CE2C-4355-BCEF-3E67289D6BB7}" v="80" dt="2020-10-29T22:44:25.4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0024" autoAdjust="0"/>
  </p:normalViewPr>
  <p:slideViewPr>
    <p:cSldViewPr snapToGrid="0">
      <p:cViewPr varScale="1">
        <p:scale>
          <a:sx n="61" d="100"/>
          <a:sy n="61" d="100"/>
        </p:scale>
        <p:origin x="1368" y="53"/>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xml"/><Relationship Id="rId21" Type="http://schemas.openxmlformats.org/officeDocument/2006/relationships/customXml" Target="../customXml/item21.xml"/><Relationship Id="rId34" Type="http://schemas.openxmlformats.org/officeDocument/2006/relationships/slide" Target="slides/slide5.xml"/><Relationship Id="rId42" Type="http://schemas.openxmlformats.org/officeDocument/2006/relationships/slide" Target="slides/slide13.xml"/><Relationship Id="rId47" Type="http://schemas.openxmlformats.org/officeDocument/2006/relationships/slide" Target="slides/slide18.xml"/><Relationship Id="rId50" Type="http://schemas.openxmlformats.org/officeDocument/2006/relationships/slide" Target="slides/slide21.xml"/><Relationship Id="rId55" Type="http://schemas.openxmlformats.org/officeDocument/2006/relationships/slide" Target="slides/slide26.xml"/><Relationship Id="rId63" Type="http://schemas.openxmlformats.org/officeDocument/2006/relationships/viewProps" Target="viewProps.xml"/><Relationship Id="rId68"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Master" Target="slideMasters/slideMaster5.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slide" Target="slides/slide16.xml"/><Relationship Id="rId53" Type="http://schemas.openxmlformats.org/officeDocument/2006/relationships/slide" Target="slides/slide24.xml"/><Relationship Id="rId58" Type="http://schemas.openxmlformats.org/officeDocument/2006/relationships/slide" Target="slides/slide29.xml"/><Relationship Id="rId66"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commentAuthors" Target="commentAuthor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3.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slide" Target="slides/slide19.xml"/><Relationship Id="rId56" Type="http://schemas.openxmlformats.org/officeDocument/2006/relationships/slide" Target="slides/slide27.xml"/><Relationship Id="rId64"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22.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1.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slide" Target="slides/slide17.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customXml" Target="../customXml/item20.xml"/><Relationship Id="rId41" Type="http://schemas.openxmlformats.org/officeDocument/2006/relationships/slide" Target="slides/slide12.xml"/><Relationship Id="rId54" Type="http://schemas.openxmlformats.org/officeDocument/2006/relationships/slide" Target="slides/slide25.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4.xml"/><Relationship Id="rId36" Type="http://schemas.openxmlformats.org/officeDocument/2006/relationships/slide" Target="slides/slide7.xml"/><Relationship Id="rId49" Type="http://schemas.openxmlformats.org/officeDocument/2006/relationships/slide" Target="slides/slide20.xml"/><Relationship Id="rId57" Type="http://schemas.openxmlformats.org/officeDocument/2006/relationships/slide" Target="slides/slide28.xml"/><Relationship Id="rId10" Type="http://schemas.openxmlformats.org/officeDocument/2006/relationships/customXml" Target="../customXml/item10.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slide" Target="slides/slide23.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k Salch" userId="47ab95ae-ac26-4648-966b-37822820099a" providerId="ADAL" clId="{2AA72A0A-CE2C-4355-BCEF-3E67289D6BB7}"/>
    <pc:docChg chg="undo custSel addSld delSld modSld addSection modSection">
      <pc:chgData name="Nick Salch" userId="47ab95ae-ac26-4648-966b-37822820099a" providerId="ADAL" clId="{2AA72A0A-CE2C-4355-BCEF-3E67289D6BB7}" dt="2020-10-30T00:07:40.413" v="4036" actId="20577"/>
      <pc:docMkLst>
        <pc:docMk/>
      </pc:docMkLst>
      <pc:sldChg chg="del">
        <pc:chgData name="Nick Salch" userId="47ab95ae-ac26-4648-966b-37822820099a" providerId="ADAL" clId="{2AA72A0A-CE2C-4355-BCEF-3E67289D6BB7}" dt="2020-10-21T05:21:34.925" v="56" actId="2696"/>
        <pc:sldMkLst>
          <pc:docMk/>
          <pc:sldMk cId="3979621196" sldId="278"/>
        </pc:sldMkLst>
      </pc:sldChg>
      <pc:sldChg chg="modSp mod">
        <pc:chgData name="Nick Salch" userId="47ab95ae-ac26-4648-966b-37822820099a" providerId="ADAL" clId="{2AA72A0A-CE2C-4355-BCEF-3E67289D6BB7}" dt="2020-10-29T22:43:52.985" v="1939" actId="20577"/>
        <pc:sldMkLst>
          <pc:docMk/>
          <pc:sldMk cId="1615560134" sldId="317"/>
        </pc:sldMkLst>
        <pc:spChg chg="mod">
          <ac:chgData name="Nick Salch" userId="47ab95ae-ac26-4648-966b-37822820099a" providerId="ADAL" clId="{2AA72A0A-CE2C-4355-BCEF-3E67289D6BB7}" dt="2020-10-29T22:43:52.985" v="1939" actId="20577"/>
          <ac:spMkLst>
            <pc:docMk/>
            <pc:sldMk cId="1615560134" sldId="317"/>
            <ac:spMk id="3" creationId="{859B2BAE-A383-4E74-B3CF-9AC64DA11727}"/>
          </ac:spMkLst>
        </pc:spChg>
      </pc:sldChg>
      <pc:sldChg chg="modSp mod modNotesTx">
        <pc:chgData name="Nick Salch" userId="47ab95ae-ac26-4648-966b-37822820099a" providerId="ADAL" clId="{2AA72A0A-CE2C-4355-BCEF-3E67289D6BB7}" dt="2020-10-29T23:31:03.242" v="3370" actId="20577"/>
        <pc:sldMkLst>
          <pc:docMk/>
          <pc:sldMk cId="4083746080" sldId="318"/>
        </pc:sldMkLst>
        <pc:spChg chg="mod">
          <ac:chgData name="Nick Salch" userId="47ab95ae-ac26-4648-966b-37822820099a" providerId="ADAL" clId="{2AA72A0A-CE2C-4355-BCEF-3E67289D6BB7}" dt="2020-10-21T05:21:19.261" v="53" actId="6549"/>
          <ac:spMkLst>
            <pc:docMk/>
            <pc:sldMk cId="4083746080" sldId="318"/>
            <ac:spMk id="2" creationId="{74CD77A6-E28D-4D8D-9FE5-64ADAA827AC9}"/>
          </ac:spMkLst>
        </pc:spChg>
      </pc:sldChg>
      <pc:sldChg chg="modSp mod">
        <pc:chgData name="Nick Salch" userId="47ab95ae-ac26-4648-966b-37822820099a" providerId="ADAL" clId="{2AA72A0A-CE2C-4355-BCEF-3E67289D6BB7}" dt="2020-10-21T05:22:18.581" v="113" actId="20577"/>
        <pc:sldMkLst>
          <pc:docMk/>
          <pc:sldMk cId="1196121053" sldId="329"/>
        </pc:sldMkLst>
        <pc:spChg chg="mod">
          <ac:chgData name="Nick Salch" userId="47ab95ae-ac26-4648-966b-37822820099a" providerId="ADAL" clId="{2AA72A0A-CE2C-4355-BCEF-3E67289D6BB7}" dt="2020-10-21T05:20:41.397" v="49" actId="20577"/>
          <ac:spMkLst>
            <pc:docMk/>
            <pc:sldMk cId="1196121053" sldId="329"/>
            <ac:spMk id="4" creationId="{5D85DF47-300F-4085-B774-DDE734B96F99}"/>
          </ac:spMkLst>
        </pc:spChg>
        <pc:spChg chg="mod">
          <ac:chgData name="Nick Salch" userId="47ab95ae-ac26-4648-966b-37822820099a" providerId="ADAL" clId="{2AA72A0A-CE2C-4355-BCEF-3E67289D6BB7}" dt="2020-10-21T05:22:18.581" v="113" actId="20577"/>
          <ac:spMkLst>
            <pc:docMk/>
            <pc:sldMk cId="1196121053" sldId="329"/>
            <ac:spMk id="5" creationId="{806AE5AE-CAF0-4BF4-872E-C97AF8874A6F}"/>
          </ac:spMkLst>
        </pc:spChg>
      </pc:sldChg>
      <pc:sldChg chg="modSp mod">
        <pc:chgData name="Nick Salch" userId="47ab95ae-ac26-4648-966b-37822820099a" providerId="ADAL" clId="{2AA72A0A-CE2C-4355-BCEF-3E67289D6BB7}" dt="2020-10-21T05:21:24.698" v="55" actId="6549"/>
        <pc:sldMkLst>
          <pc:docMk/>
          <pc:sldMk cId="3423004034" sldId="330"/>
        </pc:sldMkLst>
        <pc:spChg chg="mod">
          <ac:chgData name="Nick Salch" userId="47ab95ae-ac26-4648-966b-37822820099a" providerId="ADAL" clId="{2AA72A0A-CE2C-4355-BCEF-3E67289D6BB7}" dt="2020-10-21T05:21:24.698" v="55" actId="6549"/>
          <ac:spMkLst>
            <pc:docMk/>
            <pc:sldMk cId="3423004034" sldId="330"/>
            <ac:spMk id="5" creationId="{55182462-DFDF-4D48-A92C-42FD52821C4E}"/>
          </ac:spMkLst>
        </pc:spChg>
      </pc:sldChg>
      <pc:sldChg chg="modSp mod">
        <pc:chgData name="Nick Salch" userId="47ab95ae-ac26-4648-966b-37822820099a" providerId="ADAL" clId="{2AA72A0A-CE2C-4355-BCEF-3E67289D6BB7}" dt="2020-10-21T05:22:03.779" v="111" actId="20577"/>
        <pc:sldMkLst>
          <pc:docMk/>
          <pc:sldMk cId="2038431587" sldId="335"/>
        </pc:sldMkLst>
        <pc:spChg chg="mod">
          <ac:chgData name="Nick Salch" userId="47ab95ae-ac26-4648-966b-37822820099a" providerId="ADAL" clId="{2AA72A0A-CE2C-4355-BCEF-3E67289D6BB7}" dt="2020-10-21T05:21:43.811" v="90" actId="20577"/>
          <ac:spMkLst>
            <pc:docMk/>
            <pc:sldMk cId="2038431587" sldId="335"/>
            <ac:spMk id="5" creationId="{EC64419E-33FF-4669-97EF-E07719AC5E82}"/>
          </ac:spMkLst>
        </pc:spChg>
        <pc:graphicFrameChg chg="mod">
          <ac:chgData name="Nick Salch" userId="47ab95ae-ac26-4648-966b-37822820099a" providerId="ADAL" clId="{2AA72A0A-CE2C-4355-BCEF-3E67289D6BB7}" dt="2020-10-21T05:22:03.779" v="111" actId="20577"/>
          <ac:graphicFrameMkLst>
            <pc:docMk/>
            <pc:sldMk cId="2038431587" sldId="335"/>
            <ac:graphicFrameMk id="11" creationId="{78590265-1871-45E9-9FAC-5CD170AB7F1E}"/>
          </ac:graphicFrameMkLst>
        </pc:graphicFrameChg>
      </pc:sldChg>
      <pc:sldChg chg="modSp mod modNotesTx">
        <pc:chgData name="Nick Salch" userId="47ab95ae-ac26-4648-966b-37822820099a" providerId="ADAL" clId="{2AA72A0A-CE2C-4355-BCEF-3E67289D6BB7}" dt="2020-10-30T00:07:40.413" v="4036" actId="20577"/>
        <pc:sldMkLst>
          <pc:docMk/>
          <pc:sldMk cId="1566555566" sldId="336"/>
        </pc:sldMkLst>
        <pc:spChg chg="mod">
          <ac:chgData name="Nick Salch" userId="47ab95ae-ac26-4648-966b-37822820099a" providerId="ADAL" clId="{2AA72A0A-CE2C-4355-BCEF-3E67289D6BB7}" dt="2020-10-30T00:07:40.413" v="4036" actId="20577"/>
          <ac:spMkLst>
            <pc:docMk/>
            <pc:sldMk cId="1566555566" sldId="336"/>
            <ac:spMk id="3" creationId="{B5136E57-1211-44D1-A545-871087491A60}"/>
          </ac:spMkLst>
        </pc:spChg>
      </pc:sldChg>
      <pc:sldChg chg="del">
        <pc:chgData name="Nick Salch" userId="47ab95ae-ac26-4648-966b-37822820099a" providerId="ADAL" clId="{2AA72A0A-CE2C-4355-BCEF-3E67289D6BB7}" dt="2020-10-21T05:21:34.925" v="56" actId="2696"/>
        <pc:sldMkLst>
          <pc:docMk/>
          <pc:sldMk cId="4232668975" sldId="336"/>
        </pc:sldMkLst>
      </pc:sldChg>
      <pc:sldChg chg="modSp">
        <pc:chgData name="Nick Salch" userId="47ab95ae-ac26-4648-966b-37822820099a" providerId="ADAL" clId="{2AA72A0A-CE2C-4355-BCEF-3E67289D6BB7}" dt="2020-10-28T00:12:23.011" v="417"/>
        <pc:sldMkLst>
          <pc:docMk/>
          <pc:sldMk cId="1695121481" sldId="337"/>
        </pc:sldMkLst>
        <pc:graphicFrameChg chg="mod">
          <ac:chgData name="Nick Salch" userId="47ab95ae-ac26-4648-966b-37822820099a" providerId="ADAL" clId="{2AA72A0A-CE2C-4355-BCEF-3E67289D6BB7}" dt="2020-10-28T00:12:23.011" v="417"/>
          <ac:graphicFrameMkLst>
            <pc:docMk/>
            <pc:sldMk cId="1695121481" sldId="337"/>
            <ac:graphicFrameMk id="4" creationId="{42309F3A-5265-454C-A601-9575DCC37678}"/>
          </ac:graphicFrameMkLst>
        </pc:graphicFrameChg>
      </pc:sldChg>
      <pc:sldChg chg="del">
        <pc:chgData name="Nick Salch" userId="47ab95ae-ac26-4648-966b-37822820099a" providerId="ADAL" clId="{2AA72A0A-CE2C-4355-BCEF-3E67289D6BB7}" dt="2020-10-21T05:21:34.925" v="56" actId="2696"/>
        <pc:sldMkLst>
          <pc:docMk/>
          <pc:sldMk cId="2717152488" sldId="337"/>
        </pc:sldMkLst>
      </pc:sldChg>
      <pc:sldChg chg="del">
        <pc:chgData name="Nick Salch" userId="47ab95ae-ac26-4648-966b-37822820099a" providerId="ADAL" clId="{2AA72A0A-CE2C-4355-BCEF-3E67289D6BB7}" dt="2020-10-21T05:21:34.925" v="56" actId="2696"/>
        <pc:sldMkLst>
          <pc:docMk/>
          <pc:sldMk cId="1761295383" sldId="338"/>
        </pc:sldMkLst>
      </pc:sldChg>
      <pc:sldChg chg="addSp delSp modSp">
        <pc:chgData name="Nick Salch" userId="47ab95ae-ac26-4648-966b-37822820099a" providerId="ADAL" clId="{2AA72A0A-CE2C-4355-BCEF-3E67289D6BB7}" dt="2020-10-28T00:21:57.859" v="418" actId="12084"/>
        <pc:sldMkLst>
          <pc:docMk/>
          <pc:sldMk cId="3804212201" sldId="338"/>
        </pc:sldMkLst>
        <pc:spChg chg="del">
          <ac:chgData name="Nick Salch" userId="47ab95ae-ac26-4648-966b-37822820099a" providerId="ADAL" clId="{2AA72A0A-CE2C-4355-BCEF-3E67289D6BB7}" dt="2020-10-28T00:21:57.859" v="418" actId="12084"/>
          <ac:spMkLst>
            <pc:docMk/>
            <pc:sldMk cId="3804212201" sldId="338"/>
            <ac:spMk id="3" creationId="{85F09D8D-6D02-4CA0-8AC1-C8A79A68F93D}"/>
          </ac:spMkLst>
        </pc:spChg>
        <pc:graphicFrameChg chg="add mod">
          <ac:chgData name="Nick Salch" userId="47ab95ae-ac26-4648-966b-37822820099a" providerId="ADAL" clId="{2AA72A0A-CE2C-4355-BCEF-3E67289D6BB7}" dt="2020-10-28T00:21:57.859" v="418" actId="12084"/>
          <ac:graphicFrameMkLst>
            <pc:docMk/>
            <pc:sldMk cId="3804212201" sldId="338"/>
            <ac:graphicFrameMk id="6" creationId="{882DAFE5-775C-4C58-AE9A-6C4CE21EE46D}"/>
          </ac:graphicFrameMkLst>
        </pc:graphicFrameChg>
      </pc:sldChg>
      <pc:sldChg chg="del">
        <pc:chgData name="Nick Salch" userId="47ab95ae-ac26-4648-966b-37822820099a" providerId="ADAL" clId="{2AA72A0A-CE2C-4355-BCEF-3E67289D6BB7}" dt="2020-10-21T05:21:34.925" v="56" actId="2696"/>
        <pc:sldMkLst>
          <pc:docMk/>
          <pc:sldMk cId="2727859444" sldId="339"/>
        </pc:sldMkLst>
      </pc:sldChg>
      <pc:sldChg chg="del">
        <pc:chgData name="Nick Salch" userId="47ab95ae-ac26-4648-966b-37822820099a" providerId="ADAL" clId="{2AA72A0A-CE2C-4355-BCEF-3E67289D6BB7}" dt="2020-10-29T22:10:31.455" v="814" actId="47"/>
        <pc:sldMkLst>
          <pc:docMk/>
          <pc:sldMk cId="3333375007" sldId="340"/>
        </pc:sldMkLst>
      </pc:sldChg>
      <pc:sldChg chg="del">
        <pc:chgData name="Nick Salch" userId="47ab95ae-ac26-4648-966b-37822820099a" providerId="ADAL" clId="{2AA72A0A-CE2C-4355-BCEF-3E67289D6BB7}" dt="2020-10-21T05:21:34.925" v="56" actId="2696"/>
        <pc:sldMkLst>
          <pc:docMk/>
          <pc:sldMk cId="3375761672" sldId="340"/>
        </pc:sldMkLst>
      </pc:sldChg>
      <pc:sldChg chg="del">
        <pc:chgData name="Nick Salch" userId="47ab95ae-ac26-4648-966b-37822820099a" providerId="ADAL" clId="{2AA72A0A-CE2C-4355-BCEF-3E67289D6BB7}" dt="2020-10-21T05:21:34.925" v="56" actId="2696"/>
        <pc:sldMkLst>
          <pc:docMk/>
          <pc:sldMk cId="3305365861" sldId="341"/>
        </pc:sldMkLst>
      </pc:sldChg>
      <pc:sldChg chg="del">
        <pc:chgData name="Nick Salch" userId="47ab95ae-ac26-4648-966b-37822820099a" providerId="ADAL" clId="{2AA72A0A-CE2C-4355-BCEF-3E67289D6BB7}" dt="2020-10-21T05:21:34.925" v="56" actId="2696"/>
        <pc:sldMkLst>
          <pc:docMk/>
          <pc:sldMk cId="1446257454" sldId="342"/>
        </pc:sldMkLst>
      </pc:sldChg>
      <pc:sldChg chg="del">
        <pc:chgData name="Nick Salch" userId="47ab95ae-ac26-4648-966b-37822820099a" providerId="ADAL" clId="{2AA72A0A-CE2C-4355-BCEF-3E67289D6BB7}" dt="2020-10-21T05:21:34.925" v="56" actId="2696"/>
        <pc:sldMkLst>
          <pc:docMk/>
          <pc:sldMk cId="1589141951" sldId="343"/>
        </pc:sldMkLst>
      </pc:sldChg>
      <pc:sldChg chg="modSp mod">
        <pc:chgData name="Nick Salch" userId="47ab95ae-ac26-4648-966b-37822820099a" providerId="ADAL" clId="{2AA72A0A-CE2C-4355-BCEF-3E67289D6BB7}" dt="2020-10-29T21:49:07.812" v="423" actId="20577"/>
        <pc:sldMkLst>
          <pc:docMk/>
          <pc:sldMk cId="1607313611" sldId="344"/>
        </pc:sldMkLst>
        <pc:spChg chg="mod">
          <ac:chgData name="Nick Salch" userId="47ab95ae-ac26-4648-966b-37822820099a" providerId="ADAL" clId="{2AA72A0A-CE2C-4355-BCEF-3E67289D6BB7}" dt="2020-10-29T21:49:07.812" v="423" actId="20577"/>
          <ac:spMkLst>
            <pc:docMk/>
            <pc:sldMk cId="1607313611" sldId="344"/>
            <ac:spMk id="3" creationId="{7911A8C6-B4D6-435F-9430-950C9A37AC13}"/>
          </ac:spMkLst>
        </pc:spChg>
      </pc:sldChg>
      <pc:sldChg chg="del">
        <pc:chgData name="Nick Salch" userId="47ab95ae-ac26-4648-966b-37822820099a" providerId="ADAL" clId="{2AA72A0A-CE2C-4355-BCEF-3E67289D6BB7}" dt="2020-10-21T05:21:34.925" v="56" actId="2696"/>
        <pc:sldMkLst>
          <pc:docMk/>
          <pc:sldMk cId="3152678490" sldId="344"/>
        </pc:sldMkLst>
      </pc:sldChg>
      <pc:sldChg chg="modSp new mod">
        <pc:chgData name="Nick Salch" userId="47ab95ae-ac26-4648-966b-37822820099a" providerId="ADAL" clId="{2AA72A0A-CE2C-4355-BCEF-3E67289D6BB7}" dt="2020-10-29T21:52:23.303" v="693" actId="27636"/>
        <pc:sldMkLst>
          <pc:docMk/>
          <pc:sldMk cId="1160236595" sldId="345"/>
        </pc:sldMkLst>
        <pc:spChg chg="mod">
          <ac:chgData name="Nick Salch" userId="47ab95ae-ac26-4648-966b-37822820099a" providerId="ADAL" clId="{2AA72A0A-CE2C-4355-BCEF-3E67289D6BB7}" dt="2020-10-29T21:49:33.648" v="472" actId="20577"/>
          <ac:spMkLst>
            <pc:docMk/>
            <pc:sldMk cId="1160236595" sldId="345"/>
            <ac:spMk id="2" creationId="{91A13612-9098-42A9-8D5C-2B4448BAB74E}"/>
          </ac:spMkLst>
        </pc:spChg>
        <pc:spChg chg="mod">
          <ac:chgData name="Nick Salch" userId="47ab95ae-ac26-4648-966b-37822820099a" providerId="ADAL" clId="{2AA72A0A-CE2C-4355-BCEF-3E67289D6BB7}" dt="2020-10-29T21:52:23.303" v="693" actId="27636"/>
          <ac:spMkLst>
            <pc:docMk/>
            <pc:sldMk cId="1160236595" sldId="345"/>
            <ac:spMk id="3" creationId="{73CC410F-3433-4B8A-AB9D-2A7D64EBD504}"/>
          </ac:spMkLst>
        </pc:spChg>
      </pc:sldChg>
      <pc:sldChg chg="del">
        <pc:chgData name="Nick Salch" userId="47ab95ae-ac26-4648-966b-37822820099a" providerId="ADAL" clId="{2AA72A0A-CE2C-4355-BCEF-3E67289D6BB7}" dt="2020-10-21T05:21:34.925" v="56" actId="2696"/>
        <pc:sldMkLst>
          <pc:docMk/>
          <pc:sldMk cId="1926370703" sldId="345"/>
        </pc:sldMkLst>
      </pc:sldChg>
      <pc:sldChg chg="modSp new mod">
        <pc:chgData name="Nick Salch" userId="47ab95ae-ac26-4648-966b-37822820099a" providerId="ADAL" clId="{2AA72A0A-CE2C-4355-BCEF-3E67289D6BB7}" dt="2020-10-29T22:39:08.113" v="1325" actId="20577"/>
        <pc:sldMkLst>
          <pc:docMk/>
          <pc:sldMk cId="1418283648" sldId="346"/>
        </pc:sldMkLst>
        <pc:spChg chg="mod">
          <ac:chgData name="Nick Salch" userId="47ab95ae-ac26-4648-966b-37822820099a" providerId="ADAL" clId="{2AA72A0A-CE2C-4355-BCEF-3E67289D6BB7}" dt="2020-10-29T22:39:08.113" v="1325" actId="20577"/>
          <ac:spMkLst>
            <pc:docMk/>
            <pc:sldMk cId="1418283648" sldId="346"/>
            <ac:spMk id="2" creationId="{E88DE99F-5F62-4D0F-B37A-522AD88403D0}"/>
          </ac:spMkLst>
        </pc:spChg>
      </pc:sldChg>
      <pc:sldChg chg="del">
        <pc:chgData name="Nick Salch" userId="47ab95ae-ac26-4648-966b-37822820099a" providerId="ADAL" clId="{2AA72A0A-CE2C-4355-BCEF-3E67289D6BB7}" dt="2020-10-21T05:21:34.925" v="56" actId="2696"/>
        <pc:sldMkLst>
          <pc:docMk/>
          <pc:sldMk cId="2553919360" sldId="346"/>
        </pc:sldMkLst>
      </pc:sldChg>
      <pc:sldChg chg="del">
        <pc:chgData name="Nick Salch" userId="47ab95ae-ac26-4648-966b-37822820099a" providerId="ADAL" clId="{2AA72A0A-CE2C-4355-BCEF-3E67289D6BB7}" dt="2020-10-21T05:21:34.925" v="56" actId="2696"/>
        <pc:sldMkLst>
          <pc:docMk/>
          <pc:sldMk cId="2479755863" sldId="347"/>
        </pc:sldMkLst>
      </pc:sldChg>
      <pc:sldChg chg="modSp add mod">
        <pc:chgData name="Nick Salch" userId="47ab95ae-ac26-4648-966b-37822820099a" providerId="ADAL" clId="{2AA72A0A-CE2C-4355-BCEF-3E67289D6BB7}" dt="2020-10-29T22:39:20.880" v="1341" actId="20577"/>
        <pc:sldMkLst>
          <pc:docMk/>
          <pc:sldMk cId="3385267165" sldId="347"/>
        </pc:sldMkLst>
        <pc:spChg chg="mod">
          <ac:chgData name="Nick Salch" userId="47ab95ae-ac26-4648-966b-37822820099a" providerId="ADAL" clId="{2AA72A0A-CE2C-4355-BCEF-3E67289D6BB7}" dt="2020-10-29T22:39:20.880" v="1341" actId="20577"/>
          <ac:spMkLst>
            <pc:docMk/>
            <pc:sldMk cId="3385267165" sldId="347"/>
            <ac:spMk id="2" creationId="{E88DE99F-5F62-4D0F-B37A-522AD88403D0}"/>
          </ac:spMkLst>
        </pc:spChg>
      </pc:sldChg>
      <pc:sldChg chg="del">
        <pc:chgData name="Nick Salch" userId="47ab95ae-ac26-4648-966b-37822820099a" providerId="ADAL" clId="{2AA72A0A-CE2C-4355-BCEF-3E67289D6BB7}" dt="2020-10-21T05:21:34.925" v="56" actId="2696"/>
        <pc:sldMkLst>
          <pc:docMk/>
          <pc:sldMk cId="1201045267" sldId="348"/>
        </pc:sldMkLst>
      </pc:sldChg>
      <pc:sldChg chg="modSp add mod">
        <pc:chgData name="Nick Salch" userId="47ab95ae-ac26-4648-966b-37822820099a" providerId="ADAL" clId="{2AA72A0A-CE2C-4355-BCEF-3E67289D6BB7}" dt="2020-10-29T22:13:33.513" v="1000" actId="6549"/>
        <pc:sldMkLst>
          <pc:docMk/>
          <pc:sldMk cId="1412866840" sldId="348"/>
        </pc:sldMkLst>
        <pc:spChg chg="mod">
          <ac:chgData name="Nick Salch" userId="47ab95ae-ac26-4648-966b-37822820099a" providerId="ADAL" clId="{2AA72A0A-CE2C-4355-BCEF-3E67289D6BB7}" dt="2020-10-29T22:13:33.513" v="1000" actId="6549"/>
          <ac:spMkLst>
            <pc:docMk/>
            <pc:sldMk cId="1412866840" sldId="348"/>
            <ac:spMk id="2" creationId="{74CD77A6-E28D-4D8D-9FE5-64ADAA827AC9}"/>
          </ac:spMkLst>
        </pc:spChg>
      </pc:sldChg>
      <pc:sldChg chg="modSp new mod">
        <pc:chgData name="Nick Salch" userId="47ab95ae-ac26-4648-966b-37822820099a" providerId="ADAL" clId="{2AA72A0A-CE2C-4355-BCEF-3E67289D6BB7}" dt="2020-10-29T22:47:19.241" v="2407" actId="20577"/>
        <pc:sldMkLst>
          <pc:docMk/>
          <pc:sldMk cId="1176631780" sldId="349"/>
        </pc:sldMkLst>
        <pc:spChg chg="mod">
          <ac:chgData name="Nick Salch" userId="47ab95ae-ac26-4648-966b-37822820099a" providerId="ADAL" clId="{2AA72A0A-CE2C-4355-BCEF-3E67289D6BB7}" dt="2020-10-29T22:11:09.871" v="837" actId="20577"/>
          <ac:spMkLst>
            <pc:docMk/>
            <pc:sldMk cId="1176631780" sldId="349"/>
            <ac:spMk id="2" creationId="{3BB49135-7048-4A65-990F-904A0BB21048}"/>
          </ac:spMkLst>
        </pc:spChg>
        <pc:spChg chg="mod">
          <ac:chgData name="Nick Salch" userId="47ab95ae-ac26-4648-966b-37822820099a" providerId="ADAL" clId="{2AA72A0A-CE2C-4355-BCEF-3E67289D6BB7}" dt="2020-10-29T22:47:19.241" v="2407" actId="20577"/>
          <ac:spMkLst>
            <pc:docMk/>
            <pc:sldMk cId="1176631780" sldId="349"/>
            <ac:spMk id="3" creationId="{187B6B0E-3932-4FDA-B786-92B60CC76967}"/>
          </ac:spMkLst>
        </pc:spChg>
      </pc:sldChg>
      <pc:sldChg chg="del">
        <pc:chgData name="Nick Salch" userId="47ab95ae-ac26-4648-966b-37822820099a" providerId="ADAL" clId="{2AA72A0A-CE2C-4355-BCEF-3E67289D6BB7}" dt="2020-10-21T05:21:34.925" v="56" actId="2696"/>
        <pc:sldMkLst>
          <pc:docMk/>
          <pc:sldMk cId="3395497292" sldId="349"/>
        </pc:sldMkLst>
      </pc:sldChg>
      <pc:sldChg chg="del">
        <pc:chgData name="Nick Salch" userId="47ab95ae-ac26-4648-966b-37822820099a" providerId="ADAL" clId="{2AA72A0A-CE2C-4355-BCEF-3E67289D6BB7}" dt="2020-10-21T05:21:34.925" v="56" actId="2696"/>
        <pc:sldMkLst>
          <pc:docMk/>
          <pc:sldMk cId="2305712094" sldId="350"/>
        </pc:sldMkLst>
      </pc:sldChg>
      <pc:sldChg chg="modSp add mod modNotesTx">
        <pc:chgData name="Nick Salch" userId="47ab95ae-ac26-4648-966b-37822820099a" providerId="ADAL" clId="{2AA72A0A-CE2C-4355-BCEF-3E67289D6BB7}" dt="2020-10-29T22:39:12.348" v="1328" actId="20577"/>
        <pc:sldMkLst>
          <pc:docMk/>
          <pc:sldMk cId="3803021534" sldId="350"/>
        </pc:sldMkLst>
        <pc:spChg chg="mod">
          <ac:chgData name="Nick Salch" userId="47ab95ae-ac26-4648-966b-37822820099a" providerId="ADAL" clId="{2AA72A0A-CE2C-4355-BCEF-3E67289D6BB7}" dt="2020-10-29T22:39:12.348" v="1328" actId="20577"/>
          <ac:spMkLst>
            <pc:docMk/>
            <pc:sldMk cId="3803021534" sldId="350"/>
            <ac:spMk id="2" creationId="{E88DE99F-5F62-4D0F-B37A-522AD88403D0}"/>
          </ac:spMkLst>
        </pc:spChg>
      </pc:sldChg>
      <pc:sldChg chg="del">
        <pc:chgData name="Nick Salch" userId="47ab95ae-ac26-4648-966b-37822820099a" providerId="ADAL" clId="{2AA72A0A-CE2C-4355-BCEF-3E67289D6BB7}" dt="2020-10-21T05:21:34.925" v="56" actId="2696"/>
        <pc:sldMkLst>
          <pc:docMk/>
          <pc:sldMk cId="1046650203" sldId="351"/>
        </pc:sldMkLst>
      </pc:sldChg>
      <pc:sldChg chg="modSp add mod">
        <pc:chgData name="Nick Salch" userId="47ab95ae-ac26-4648-966b-37822820099a" providerId="ADAL" clId="{2AA72A0A-CE2C-4355-BCEF-3E67289D6BB7}" dt="2020-10-29T22:14:33.047" v="1041" actId="20577"/>
        <pc:sldMkLst>
          <pc:docMk/>
          <pc:sldMk cId="3738164750" sldId="351"/>
        </pc:sldMkLst>
        <pc:spChg chg="mod">
          <ac:chgData name="Nick Salch" userId="47ab95ae-ac26-4648-966b-37822820099a" providerId="ADAL" clId="{2AA72A0A-CE2C-4355-BCEF-3E67289D6BB7}" dt="2020-10-29T22:14:33.047" v="1041" actId="20577"/>
          <ac:spMkLst>
            <pc:docMk/>
            <pc:sldMk cId="3738164750" sldId="351"/>
            <ac:spMk id="2" creationId="{74CD77A6-E28D-4D8D-9FE5-64ADAA827AC9}"/>
          </ac:spMkLst>
        </pc:spChg>
      </pc:sldChg>
      <pc:sldChg chg="modSp add mod">
        <pc:chgData name="Nick Salch" userId="47ab95ae-ac26-4648-966b-37822820099a" providerId="ADAL" clId="{2AA72A0A-CE2C-4355-BCEF-3E67289D6BB7}" dt="2020-10-29T22:42:52.771" v="1894" actId="20577"/>
        <pc:sldMkLst>
          <pc:docMk/>
          <pc:sldMk cId="3396058570" sldId="352"/>
        </pc:sldMkLst>
        <pc:spChg chg="mod">
          <ac:chgData name="Nick Salch" userId="47ab95ae-ac26-4648-966b-37822820099a" providerId="ADAL" clId="{2AA72A0A-CE2C-4355-BCEF-3E67289D6BB7}" dt="2020-10-29T22:40:23.939" v="1350" actId="20577"/>
          <ac:spMkLst>
            <pc:docMk/>
            <pc:sldMk cId="3396058570" sldId="352"/>
            <ac:spMk id="2" creationId="{3BB49135-7048-4A65-990F-904A0BB21048}"/>
          </ac:spMkLst>
        </pc:spChg>
        <pc:spChg chg="mod">
          <ac:chgData name="Nick Salch" userId="47ab95ae-ac26-4648-966b-37822820099a" providerId="ADAL" clId="{2AA72A0A-CE2C-4355-BCEF-3E67289D6BB7}" dt="2020-10-29T22:42:52.771" v="1894" actId="20577"/>
          <ac:spMkLst>
            <pc:docMk/>
            <pc:sldMk cId="3396058570" sldId="352"/>
            <ac:spMk id="3" creationId="{187B6B0E-3932-4FDA-B786-92B60CC76967}"/>
          </ac:spMkLst>
        </pc:spChg>
      </pc:sldChg>
      <pc:sldChg chg="modSp add mod modNotesTx">
        <pc:chgData name="Nick Salch" userId="47ab95ae-ac26-4648-966b-37822820099a" providerId="ADAL" clId="{2AA72A0A-CE2C-4355-BCEF-3E67289D6BB7}" dt="2020-10-29T22:46:36.953" v="2240" actId="20577"/>
        <pc:sldMkLst>
          <pc:docMk/>
          <pc:sldMk cId="2936141858" sldId="353"/>
        </pc:sldMkLst>
        <pc:spChg chg="mod">
          <ac:chgData name="Nick Salch" userId="47ab95ae-ac26-4648-966b-37822820099a" providerId="ADAL" clId="{2AA72A0A-CE2C-4355-BCEF-3E67289D6BB7}" dt="2020-10-29T22:38:51.565" v="1320" actId="20577"/>
          <ac:spMkLst>
            <pc:docMk/>
            <pc:sldMk cId="2936141858" sldId="353"/>
            <ac:spMk id="2" creationId="{E88DE99F-5F62-4D0F-B37A-522AD88403D0}"/>
          </ac:spMkLst>
        </pc:spChg>
      </pc:sldChg>
      <pc:sldChg chg="modSp add mod">
        <pc:chgData name="Nick Salch" userId="47ab95ae-ac26-4648-966b-37822820099a" providerId="ADAL" clId="{2AA72A0A-CE2C-4355-BCEF-3E67289D6BB7}" dt="2020-10-29T22:44:04.364" v="1941" actId="20577"/>
        <pc:sldMkLst>
          <pc:docMk/>
          <pc:sldMk cId="3744469800" sldId="354"/>
        </pc:sldMkLst>
        <pc:spChg chg="mod">
          <ac:chgData name="Nick Salch" userId="47ab95ae-ac26-4648-966b-37822820099a" providerId="ADAL" clId="{2AA72A0A-CE2C-4355-BCEF-3E67289D6BB7}" dt="2020-10-29T22:44:04.364" v="1941" actId="20577"/>
          <ac:spMkLst>
            <pc:docMk/>
            <pc:sldMk cId="3744469800" sldId="354"/>
            <ac:spMk id="2" creationId="{74CD77A6-E28D-4D8D-9FE5-64ADAA827AC9}"/>
          </ac:spMkLst>
        </pc:spChg>
      </pc:sldChg>
      <pc:sldChg chg="modSp add mod">
        <pc:chgData name="Nick Salch" userId="47ab95ae-ac26-4648-966b-37822820099a" providerId="ADAL" clId="{2AA72A0A-CE2C-4355-BCEF-3E67289D6BB7}" dt="2020-10-29T22:49:59.864" v="2486" actId="20577"/>
        <pc:sldMkLst>
          <pc:docMk/>
          <pc:sldMk cId="3156713413" sldId="355"/>
        </pc:sldMkLst>
        <pc:spChg chg="mod">
          <ac:chgData name="Nick Salch" userId="47ab95ae-ac26-4648-966b-37822820099a" providerId="ADAL" clId="{2AA72A0A-CE2C-4355-BCEF-3E67289D6BB7}" dt="2020-10-29T22:49:44.420" v="2428" actId="20577"/>
          <ac:spMkLst>
            <pc:docMk/>
            <pc:sldMk cId="3156713413" sldId="355"/>
            <ac:spMk id="2" creationId="{3BB49135-7048-4A65-990F-904A0BB21048}"/>
          </ac:spMkLst>
        </pc:spChg>
        <pc:spChg chg="mod">
          <ac:chgData name="Nick Salch" userId="47ab95ae-ac26-4648-966b-37822820099a" providerId="ADAL" clId="{2AA72A0A-CE2C-4355-BCEF-3E67289D6BB7}" dt="2020-10-29T22:49:59.864" v="2486" actId="20577"/>
          <ac:spMkLst>
            <pc:docMk/>
            <pc:sldMk cId="3156713413" sldId="355"/>
            <ac:spMk id="3" creationId="{187B6B0E-3932-4FDA-B786-92B60CC76967}"/>
          </ac:spMkLst>
        </pc:spChg>
      </pc:sldChg>
      <pc:sldChg chg="modSp add mod modNotesTx">
        <pc:chgData name="Nick Salch" userId="47ab95ae-ac26-4648-966b-37822820099a" providerId="ADAL" clId="{2AA72A0A-CE2C-4355-BCEF-3E67289D6BB7}" dt="2020-10-29T23:00:08.078" v="3074" actId="20577"/>
        <pc:sldMkLst>
          <pc:docMk/>
          <pc:sldMk cId="2675953425" sldId="356"/>
        </pc:sldMkLst>
        <pc:spChg chg="mod">
          <ac:chgData name="Nick Salch" userId="47ab95ae-ac26-4648-966b-37822820099a" providerId="ADAL" clId="{2AA72A0A-CE2C-4355-BCEF-3E67289D6BB7}" dt="2020-10-29T23:00:08.078" v="3074" actId="20577"/>
          <ac:spMkLst>
            <pc:docMk/>
            <pc:sldMk cId="2675953425" sldId="356"/>
            <ac:spMk id="2" creationId="{E88DE99F-5F62-4D0F-B37A-522AD88403D0}"/>
          </ac:spMkLst>
        </pc:spChg>
      </pc:sldChg>
      <pc:sldChg chg="modSp add mod">
        <pc:chgData name="Nick Salch" userId="47ab95ae-ac26-4648-966b-37822820099a" providerId="ADAL" clId="{2AA72A0A-CE2C-4355-BCEF-3E67289D6BB7}" dt="2020-10-29T22:44:19.379" v="1943" actId="20577"/>
        <pc:sldMkLst>
          <pc:docMk/>
          <pc:sldMk cId="2734733076" sldId="357"/>
        </pc:sldMkLst>
        <pc:spChg chg="mod">
          <ac:chgData name="Nick Salch" userId="47ab95ae-ac26-4648-966b-37822820099a" providerId="ADAL" clId="{2AA72A0A-CE2C-4355-BCEF-3E67289D6BB7}" dt="2020-10-29T22:44:19.379" v="1943" actId="20577"/>
          <ac:spMkLst>
            <pc:docMk/>
            <pc:sldMk cId="2734733076" sldId="357"/>
            <ac:spMk id="5" creationId="{55182462-DFDF-4D48-A92C-42FD52821C4E}"/>
          </ac:spMkLst>
        </pc:spChg>
      </pc:sldChg>
      <pc:sldChg chg="modSp add mod">
        <pc:chgData name="Nick Salch" userId="47ab95ae-ac26-4648-966b-37822820099a" providerId="ADAL" clId="{2AA72A0A-CE2C-4355-BCEF-3E67289D6BB7}" dt="2020-10-29T22:45:24.090" v="2164" actId="20577"/>
        <pc:sldMkLst>
          <pc:docMk/>
          <pc:sldMk cId="1371060398" sldId="358"/>
        </pc:sldMkLst>
        <pc:spChg chg="mod">
          <ac:chgData name="Nick Salch" userId="47ab95ae-ac26-4648-966b-37822820099a" providerId="ADAL" clId="{2AA72A0A-CE2C-4355-BCEF-3E67289D6BB7}" dt="2020-10-29T22:45:24.090" v="2164" actId="20577"/>
          <ac:spMkLst>
            <pc:docMk/>
            <pc:sldMk cId="1371060398" sldId="358"/>
            <ac:spMk id="5" creationId="{55182462-DFDF-4D48-A92C-42FD52821C4E}"/>
          </ac:spMkLst>
        </pc:spChg>
      </pc:sldChg>
      <pc:sldChg chg="modSp add mod">
        <pc:chgData name="Nick Salch" userId="47ab95ae-ac26-4648-966b-37822820099a" providerId="ADAL" clId="{2AA72A0A-CE2C-4355-BCEF-3E67289D6BB7}" dt="2020-10-29T22:44:48.395" v="2012" actId="20577"/>
        <pc:sldMkLst>
          <pc:docMk/>
          <pc:sldMk cId="1366279133" sldId="359"/>
        </pc:sldMkLst>
        <pc:spChg chg="mod">
          <ac:chgData name="Nick Salch" userId="47ab95ae-ac26-4648-966b-37822820099a" providerId="ADAL" clId="{2AA72A0A-CE2C-4355-BCEF-3E67289D6BB7}" dt="2020-10-29T22:44:48.395" v="2012" actId="20577"/>
          <ac:spMkLst>
            <pc:docMk/>
            <pc:sldMk cId="1366279133" sldId="359"/>
            <ac:spMk id="5" creationId="{55182462-DFDF-4D48-A92C-42FD52821C4E}"/>
          </ac:spMkLst>
        </pc:spChg>
      </pc:sldChg>
      <pc:sldChg chg="modSp new mod modNotesTx">
        <pc:chgData name="Nick Salch" userId="47ab95ae-ac26-4648-966b-37822820099a" providerId="ADAL" clId="{2AA72A0A-CE2C-4355-BCEF-3E67289D6BB7}" dt="2020-10-29T23:30:22.499" v="3234" actId="20577"/>
        <pc:sldMkLst>
          <pc:docMk/>
          <pc:sldMk cId="516506889" sldId="360"/>
        </pc:sldMkLst>
        <pc:spChg chg="mod">
          <ac:chgData name="Nick Salch" userId="47ab95ae-ac26-4648-966b-37822820099a" providerId="ADAL" clId="{2AA72A0A-CE2C-4355-BCEF-3E67289D6BB7}" dt="2020-10-29T22:52:56.890" v="2507" actId="20577"/>
          <ac:spMkLst>
            <pc:docMk/>
            <pc:sldMk cId="516506889" sldId="360"/>
            <ac:spMk id="2" creationId="{498D40D7-6DE1-4946-9D65-A60DB08ED7B9}"/>
          </ac:spMkLst>
        </pc:spChg>
        <pc:spChg chg="mod">
          <ac:chgData name="Nick Salch" userId="47ab95ae-ac26-4648-966b-37822820099a" providerId="ADAL" clId="{2AA72A0A-CE2C-4355-BCEF-3E67289D6BB7}" dt="2020-10-29T22:55:31.159" v="2764" actId="20577"/>
          <ac:spMkLst>
            <pc:docMk/>
            <pc:sldMk cId="516506889" sldId="360"/>
            <ac:spMk id="3" creationId="{745A2237-33D1-4742-8D6B-A3B853FBDCA5}"/>
          </ac:spMkLst>
        </pc:spChg>
      </pc:sldChg>
      <pc:sldMasterChg chg="addSldLayout modSldLayout">
        <pc:chgData name="Nick Salch" userId="47ab95ae-ac26-4648-966b-37822820099a" providerId="ADAL" clId="{2AA72A0A-CE2C-4355-BCEF-3E67289D6BB7}" dt="2020-10-29T22:09:17.646" v="699" actId="22"/>
        <pc:sldMasterMkLst>
          <pc:docMk/>
          <pc:sldMasterMk cId="1790270825" sldId="2147484082"/>
        </pc:sldMasterMkLst>
        <pc:sldLayoutChg chg="add mod">
          <pc:chgData name="Nick Salch" userId="47ab95ae-ac26-4648-966b-37822820099a" providerId="ADAL" clId="{2AA72A0A-CE2C-4355-BCEF-3E67289D6BB7}" dt="2020-10-29T22:09:17.646" v="699" actId="22"/>
          <pc:sldLayoutMkLst>
            <pc:docMk/>
            <pc:sldMasterMk cId="1790270825" sldId="2147484082"/>
            <pc:sldLayoutMk cId="1815401925" sldId="2147484418"/>
          </pc:sldLayoutMkLst>
        </pc:sldLayoutChg>
      </pc:sldMasterChg>
    </pc:docChg>
  </pc:docChgLst>
</pc:chgInfo>
</file>

<file path=ppt/diagrams/_rels/data10.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image" Target="../media/image13.png"/></Relationships>
</file>

<file path=ppt/diagrams/_rels/data11.xml.rels><?xml version="1.0" encoding="UTF-8" standalone="yes"?>
<Relationships xmlns="http://schemas.openxmlformats.org/package/2006/relationships"><Relationship Id="rId2" Type="http://schemas.openxmlformats.org/officeDocument/2006/relationships/image" Target="../media/image16.svg"/><Relationship Id="rId1" Type="http://schemas.openxmlformats.org/officeDocument/2006/relationships/image" Target="../media/image15.png"/></Relationships>
</file>

<file path=ppt/diagrams/_rels/data12.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ata1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image" Target="../media/image19.png"/></Relationships>
</file>

<file path=ppt/diagrams/_rels/drawing10.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image" Target="../media/image13.png"/></Relationships>
</file>

<file path=ppt/diagrams/_rels/drawing11.xml.rels><?xml version="1.0" encoding="UTF-8" standalone="yes"?>
<Relationships xmlns="http://schemas.openxmlformats.org/package/2006/relationships"><Relationship Id="rId2" Type="http://schemas.openxmlformats.org/officeDocument/2006/relationships/image" Target="../media/image16.svg"/><Relationship Id="rId1" Type="http://schemas.openxmlformats.org/officeDocument/2006/relationships/image" Target="../media/image15.png"/></Relationships>
</file>

<file path=ppt/diagrams/_rels/drawing12.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rawing13.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E6F41C-D1EF-446E-A63B-807C2D92ADF4}" type="doc">
      <dgm:prSet loTypeId="urn:microsoft.com/office/officeart/2005/8/layout/list1" loCatId="list" qsTypeId="urn:microsoft.com/office/officeart/2005/8/quickstyle/simple1" qsCatId="simple" csTypeId="urn:microsoft.com/office/officeart/2005/8/colors/accent0_3" csCatId="mainScheme"/>
      <dgm:spPr/>
      <dgm:t>
        <a:bodyPr/>
        <a:lstStyle/>
        <a:p>
          <a:endParaRPr lang="en-US"/>
        </a:p>
      </dgm:t>
    </dgm:pt>
    <dgm:pt modelId="{14EDD0BF-45D0-468E-AF58-08936FE07497}">
      <dgm:prSet custT="1"/>
      <dgm:spPr/>
      <dgm:t>
        <a:bodyPr/>
        <a:lstStyle/>
        <a:p>
          <a:r>
            <a:rPr lang="en-US" sz="2000" baseline="0"/>
            <a:t>DWU Usage metrics</a:t>
          </a:r>
          <a:endParaRPr lang="en-US" sz="2000"/>
        </a:p>
      </dgm:t>
    </dgm:pt>
    <dgm:pt modelId="{C6472067-AD2F-46BA-ABDE-6A89870EBA6D}" type="parTrans" cxnId="{896710FA-CCF0-413E-BC93-E2C4E71825CE}">
      <dgm:prSet/>
      <dgm:spPr/>
      <dgm:t>
        <a:bodyPr/>
        <a:lstStyle/>
        <a:p>
          <a:endParaRPr lang="en-US"/>
        </a:p>
      </dgm:t>
    </dgm:pt>
    <dgm:pt modelId="{2258A816-FD0A-4D7E-A9E5-47864DE2A1B4}" type="sibTrans" cxnId="{896710FA-CCF0-413E-BC93-E2C4E71825CE}">
      <dgm:prSet/>
      <dgm:spPr/>
      <dgm:t>
        <a:bodyPr/>
        <a:lstStyle/>
        <a:p>
          <a:endParaRPr lang="en-US"/>
        </a:p>
      </dgm:t>
    </dgm:pt>
    <dgm:pt modelId="{C9654B47-C403-49F1-9B9B-5FAE5C7C0B3A}">
      <dgm:prSet/>
      <dgm:spPr/>
      <dgm:t>
        <a:bodyPr/>
        <a:lstStyle/>
        <a:p>
          <a:r>
            <a:rPr lang="en-US" baseline="0" dirty="0"/>
            <a:t>Analyze the workload on the system</a:t>
          </a:r>
          <a:endParaRPr lang="en-US" dirty="0"/>
        </a:p>
      </dgm:t>
    </dgm:pt>
    <dgm:pt modelId="{DCFC2BAF-4D9E-41EC-AF8E-DDD1417B27CD}" type="parTrans" cxnId="{91B9EB05-0BE7-4040-A12F-94DD19AB0ADF}">
      <dgm:prSet/>
      <dgm:spPr/>
      <dgm:t>
        <a:bodyPr/>
        <a:lstStyle/>
        <a:p>
          <a:endParaRPr lang="en-US"/>
        </a:p>
      </dgm:t>
    </dgm:pt>
    <dgm:pt modelId="{9CE315BC-91C1-4E96-868A-61D4951BB60E}" type="sibTrans" cxnId="{91B9EB05-0BE7-4040-A12F-94DD19AB0ADF}">
      <dgm:prSet/>
      <dgm:spPr/>
      <dgm:t>
        <a:bodyPr/>
        <a:lstStyle/>
        <a:p>
          <a:endParaRPr lang="en-US"/>
        </a:p>
      </dgm:t>
    </dgm:pt>
    <dgm:pt modelId="{63C861FE-E6A2-43BD-ACB7-8344427C4155}">
      <dgm:prSet/>
      <dgm:spPr/>
      <dgm:t>
        <a:bodyPr/>
        <a:lstStyle/>
        <a:p>
          <a:r>
            <a:rPr lang="en-US" baseline="0"/>
            <a:t>Identify areas of concern</a:t>
          </a:r>
          <a:endParaRPr lang="en-US"/>
        </a:p>
      </dgm:t>
    </dgm:pt>
    <dgm:pt modelId="{27E61FBF-CE9E-4188-8FBE-68EC1114AC63}" type="parTrans" cxnId="{3883E710-440E-4727-A27F-DE6EE36E38E3}">
      <dgm:prSet/>
      <dgm:spPr/>
      <dgm:t>
        <a:bodyPr/>
        <a:lstStyle/>
        <a:p>
          <a:endParaRPr lang="en-US"/>
        </a:p>
      </dgm:t>
    </dgm:pt>
    <dgm:pt modelId="{BB5DE127-F0A5-4788-B88C-4BC07CB31C92}" type="sibTrans" cxnId="{3883E710-440E-4727-A27F-DE6EE36E38E3}">
      <dgm:prSet/>
      <dgm:spPr/>
      <dgm:t>
        <a:bodyPr/>
        <a:lstStyle/>
        <a:p>
          <a:endParaRPr lang="en-US"/>
        </a:p>
      </dgm:t>
    </dgm:pt>
    <dgm:pt modelId="{441550FB-24E2-43F1-858B-4A8153B719D1}">
      <dgm:prSet custT="1"/>
      <dgm:spPr/>
      <dgm:t>
        <a:bodyPr/>
        <a:lstStyle/>
        <a:p>
          <a:r>
            <a:rPr lang="en-US" sz="2000" baseline="0"/>
            <a:t>Active &amp; queued queries</a:t>
          </a:r>
          <a:endParaRPr lang="en-US" sz="2000"/>
        </a:p>
      </dgm:t>
    </dgm:pt>
    <dgm:pt modelId="{8630590C-5B3A-4278-85D4-7935FF951926}" type="parTrans" cxnId="{BD7E029C-CC07-48D4-9617-77B9A5089112}">
      <dgm:prSet/>
      <dgm:spPr/>
      <dgm:t>
        <a:bodyPr/>
        <a:lstStyle/>
        <a:p>
          <a:endParaRPr lang="en-US"/>
        </a:p>
      </dgm:t>
    </dgm:pt>
    <dgm:pt modelId="{CA6D83ED-4050-4133-A2A4-5DF4DAE627D8}" type="sibTrans" cxnId="{BD7E029C-CC07-48D4-9617-77B9A5089112}">
      <dgm:prSet/>
      <dgm:spPr/>
      <dgm:t>
        <a:bodyPr/>
        <a:lstStyle/>
        <a:p>
          <a:endParaRPr lang="en-US"/>
        </a:p>
      </dgm:t>
    </dgm:pt>
    <dgm:pt modelId="{BD9B28B6-7EF9-4344-A60B-A661F8BFC4C7}">
      <dgm:prSet/>
      <dgm:spPr/>
      <dgm:t>
        <a:bodyPr/>
        <a:lstStyle/>
        <a:p>
          <a:r>
            <a:rPr lang="en-US" baseline="0"/>
            <a:t>Analyze concurrency and resource waits</a:t>
          </a:r>
          <a:endParaRPr lang="en-US"/>
        </a:p>
      </dgm:t>
    </dgm:pt>
    <dgm:pt modelId="{4744E616-8FDC-48A7-9C1F-87B6988C8508}" type="parTrans" cxnId="{D0114E78-7A6B-4D88-842A-87760935765B}">
      <dgm:prSet/>
      <dgm:spPr/>
      <dgm:t>
        <a:bodyPr/>
        <a:lstStyle/>
        <a:p>
          <a:endParaRPr lang="en-US"/>
        </a:p>
      </dgm:t>
    </dgm:pt>
    <dgm:pt modelId="{4BBFEC04-B86F-44B7-B6BD-E5B4958036B2}" type="sibTrans" cxnId="{D0114E78-7A6B-4D88-842A-87760935765B}">
      <dgm:prSet/>
      <dgm:spPr/>
      <dgm:t>
        <a:bodyPr/>
        <a:lstStyle/>
        <a:p>
          <a:endParaRPr lang="en-US"/>
        </a:p>
      </dgm:t>
    </dgm:pt>
    <dgm:pt modelId="{CB17D0D0-29D8-4656-AB46-70C54F07F92E}">
      <dgm:prSet custT="1"/>
      <dgm:spPr/>
      <dgm:t>
        <a:bodyPr/>
        <a:lstStyle/>
        <a:p>
          <a:r>
            <a:rPr lang="en-US" sz="2000" baseline="0"/>
            <a:t>Successful and failed connections</a:t>
          </a:r>
          <a:endParaRPr lang="en-US" sz="2000"/>
        </a:p>
      </dgm:t>
    </dgm:pt>
    <dgm:pt modelId="{4142CC1B-5361-4545-97D8-93BAC2647F39}" type="parTrans" cxnId="{2AD5BED0-45A6-4213-AD3A-572D4C5713D1}">
      <dgm:prSet/>
      <dgm:spPr/>
      <dgm:t>
        <a:bodyPr/>
        <a:lstStyle/>
        <a:p>
          <a:endParaRPr lang="en-US"/>
        </a:p>
      </dgm:t>
    </dgm:pt>
    <dgm:pt modelId="{45B68492-8BF5-4328-8E74-8D273A2370CE}" type="sibTrans" cxnId="{2AD5BED0-45A6-4213-AD3A-572D4C5713D1}">
      <dgm:prSet/>
      <dgm:spPr/>
      <dgm:t>
        <a:bodyPr/>
        <a:lstStyle/>
        <a:p>
          <a:endParaRPr lang="en-US"/>
        </a:p>
      </dgm:t>
    </dgm:pt>
    <dgm:pt modelId="{2049E2FD-37FD-4A93-9A6A-9FA36A81AEDB}">
      <dgm:prSet/>
      <dgm:spPr/>
      <dgm:t>
        <a:bodyPr/>
        <a:lstStyle/>
        <a:p>
          <a:r>
            <a:rPr lang="en-US" baseline="0"/>
            <a:t>Security auditing</a:t>
          </a:r>
          <a:endParaRPr lang="en-US"/>
        </a:p>
      </dgm:t>
    </dgm:pt>
    <dgm:pt modelId="{96CCEE43-025E-406E-B62B-CF1032986565}" type="parTrans" cxnId="{845BA353-A8D1-4C0E-9F1F-55D9B6DB9E4D}">
      <dgm:prSet/>
      <dgm:spPr/>
      <dgm:t>
        <a:bodyPr/>
        <a:lstStyle/>
        <a:p>
          <a:endParaRPr lang="en-US"/>
        </a:p>
      </dgm:t>
    </dgm:pt>
    <dgm:pt modelId="{22520C47-AA92-429C-BB70-99DFDD6B092E}" type="sibTrans" cxnId="{845BA353-A8D1-4C0E-9F1F-55D9B6DB9E4D}">
      <dgm:prSet/>
      <dgm:spPr/>
      <dgm:t>
        <a:bodyPr/>
        <a:lstStyle/>
        <a:p>
          <a:endParaRPr lang="en-US"/>
        </a:p>
      </dgm:t>
    </dgm:pt>
    <dgm:pt modelId="{523864C6-4541-4D7B-AB90-60D0C490E31B}">
      <dgm:prSet custT="1"/>
      <dgm:spPr/>
      <dgm:t>
        <a:bodyPr/>
        <a:lstStyle/>
        <a:p>
          <a:r>
            <a:rPr lang="en-US" sz="2000" baseline="0"/>
            <a:t>Cache Usage</a:t>
          </a:r>
          <a:endParaRPr lang="en-US" sz="2000"/>
        </a:p>
      </dgm:t>
    </dgm:pt>
    <dgm:pt modelId="{C23212AD-A793-434C-AB26-25F69875771A}" type="parTrans" cxnId="{0FAE89B4-3ACF-4D07-8EDE-3C2AF57CB6CE}">
      <dgm:prSet/>
      <dgm:spPr/>
      <dgm:t>
        <a:bodyPr/>
        <a:lstStyle/>
        <a:p>
          <a:endParaRPr lang="en-US"/>
        </a:p>
      </dgm:t>
    </dgm:pt>
    <dgm:pt modelId="{2F0FC399-C20D-40BA-88BD-12C9894A7915}" type="sibTrans" cxnId="{0FAE89B4-3ACF-4D07-8EDE-3C2AF57CB6CE}">
      <dgm:prSet/>
      <dgm:spPr/>
      <dgm:t>
        <a:bodyPr/>
        <a:lstStyle/>
        <a:p>
          <a:endParaRPr lang="en-US"/>
        </a:p>
      </dgm:t>
    </dgm:pt>
    <dgm:pt modelId="{725F75DD-6776-4581-8BA7-281B685B4661}">
      <dgm:prSet/>
      <dgm:spPr/>
      <dgm:t>
        <a:bodyPr/>
        <a:lstStyle/>
        <a:p>
          <a:r>
            <a:rPr lang="en-US" baseline="0"/>
            <a:t>Analyze effective cache usage</a:t>
          </a:r>
          <a:endParaRPr lang="en-US"/>
        </a:p>
      </dgm:t>
    </dgm:pt>
    <dgm:pt modelId="{CB961F84-966D-4453-9400-25D2D3B17A8B}" type="parTrans" cxnId="{6AC46695-4ED0-443D-8D74-165FE2984A4E}">
      <dgm:prSet/>
      <dgm:spPr/>
      <dgm:t>
        <a:bodyPr/>
        <a:lstStyle/>
        <a:p>
          <a:endParaRPr lang="en-US"/>
        </a:p>
      </dgm:t>
    </dgm:pt>
    <dgm:pt modelId="{D5394121-EFD5-4D5A-AE20-DDD706426C7C}" type="sibTrans" cxnId="{6AC46695-4ED0-443D-8D74-165FE2984A4E}">
      <dgm:prSet/>
      <dgm:spPr/>
      <dgm:t>
        <a:bodyPr/>
        <a:lstStyle/>
        <a:p>
          <a:endParaRPr lang="en-US"/>
        </a:p>
      </dgm:t>
    </dgm:pt>
    <dgm:pt modelId="{F3038BE5-C62B-449F-8171-D3A03281CFB8}">
      <dgm:prSet/>
      <dgm:spPr/>
      <dgm:t>
        <a:bodyPr/>
        <a:lstStyle/>
        <a:p>
          <a:r>
            <a:rPr lang="en-US" baseline="0"/>
            <a:t>Proper SLO sizing</a:t>
          </a:r>
          <a:endParaRPr lang="en-US"/>
        </a:p>
      </dgm:t>
    </dgm:pt>
    <dgm:pt modelId="{44763D99-09F8-4213-8281-DEC154C2DCB9}" type="parTrans" cxnId="{FB696283-A457-4A6A-8160-1FB95B59055B}">
      <dgm:prSet/>
      <dgm:spPr/>
      <dgm:t>
        <a:bodyPr/>
        <a:lstStyle/>
        <a:p>
          <a:endParaRPr lang="en-US"/>
        </a:p>
      </dgm:t>
    </dgm:pt>
    <dgm:pt modelId="{D6AC1208-AF35-4EEC-968D-AD635C2F89ED}" type="sibTrans" cxnId="{FB696283-A457-4A6A-8160-1FB95B59055B}">
      <dgm:prSet/>
      <dgm:spPr/>
      <dgm:t>
        <a:bodyPr/>
        <a:lstStyle/>
        <a:p>
          <a:endParaRPr lang="en-US"/>
        </a:p>
      </dgm:t>
    </dgm:pt>
    <dgm:pt modelId="{91097854-4970-488F-A327-C525F529F9C2}">
      <dgm:prSet custT="1"/>
      <dgm:spPr/>
      <dgm:t>
        <a:bodyPr/>
        <a:lstStyle/>
        <a:p>
          <a:r>
            <a:rPr lang="en-US" sz="2000" baseline="0"/>
            <a:t>Workload Group metrics</a:t>
          </a:r>
          <a:endParaRPr lang="en-US" sz="2000"/>
        </a:p>
      </dgm:t>
    </dgm:pt>
    <dgm:pt modelId="{E81947F5-D512-4A4F-8C8E-C61C4762BBDC}" type="parTrans" cxnId="{6F1D8CD4-D0A8-4730-8B90-BF4B99341626}">
      <dgm:prSet/>
      <dgm:spPr/>
      <dgm:t>
        <a:bodyPr/>
        <a:lstStyle/>
        <a:p>
          <a:endParaRPr lang="en-US"/>
        </a:p>
      </dgm:t>
    </dgm:pt>
    <dgm:pt modelId="{D96A02F1-5244-4A3A-8438-EBCB4EA0CC5E}" type="sibTrans" cxnId="{6F1D8CD4-D0A8-4730-8B90-BF4B99341626}">
      <dgm:prSet/>
      <dgm:spPr/>
      <dgm:t>
        <a:bodyPr/>
        <a:lstStyle/>
        <a:p>
          <a:endParaRPr lang="en-US"/>
        </a:p>
      </dgm:t>
    </dgm:pt>
    <dgm:pt modelId="{23C35D37-15E0-4C36-BB9D-7D5215A7C0B9}">
      <dgm:prSet/>
      <dgm:spPr/>
      <dgm:t>
        <a:bodyPr/>
        <a:lstStyle/>
        <a:p>
          <a:r>
            <a:rPr lang="en-US" baseline="0" dirty="0"/>
            <a:t>Analyze workload management effectiveness</a:t>
          </a:r>
          <a:endParaRPr lang="en-US" dirty="0"/>
        </a:p>
      </dgm:t>
    </dgm:pt>
    <dgm:pt modelId="{E37383A9-C9A3-4F0D-8F64-04BF4BEB890A}" type="parTrans" cxnId="{D889E6DC-F5A7-4F6D-ADBA-EAFC0A31961B}">
      <dgm:prSet/>
      <dgm:spPr/>
      <dgm:t>
        <a:bodyPr/>
        <a:lstStyle/>
        <a:p>
          <a:endParaRPr lang="en-US"/>
        </a:p>
      </dgm:t>
    </dgm:pt>
    <dgm:pt modelId="{5C308F6F-A427-4A2D-A6DD-41FFE94B6F04}" type="sibTrans" cxnId="{D889E6DC-F5A7-4F6D-ADBA-EAFC0A31961B}">
      <dgm:prSet/>
      <dgm:spPr/>
      <dgm:t>
        <a:bodyPr/>
        <a:lstStyle/>
        <a:p>
          <a:endParaRPr lang="en-US"/>
        </a:p>
      </dgm:t>
    </dgm:pt>
    <dgm:pt modelId="{2E364CB4-7EA6-4981-BB74-3C373F5F9078}" type="pres">
      <dgm:prSet presAssocID="{3BE6F41C-D1EF-446E-A63B-807C2D92ADF4}" presName="linear" presStyleCnt="0">
        <dgm:presLayoutVars>
          <dgm:dir/>
          <dgm:animLvl val="lvl"/>
          <dgm:resizeHandles val="exact"/>
        </dgm:presLayoutVars>
      </dgm:prSet>
      <dgm:spPr/>
    </dgm:pt>
    <dgm:pt modelId="{D08DB956-3976-4174-B53B-FB4049306D62}" type="pres">
      <dgm:prSet presAssocID="{14EDD0BF-45D0-468E-AF58-08936FE07497}" presName="parentLin" presStyleCnt="0"/>
      <dgm:spPr/>
    </dgm:pt>
    <dgm:pt modelId="{2DD2BC9F-F314-4BEF-90E5-E69B900D1523}" type="pres">
      <dgm:prSet presAssocID="{14EDD0BF-45D0-468E-AF58-08936FE07497}" presName="parentLeftMargin" presStyleLbl="node1" presStyleIdx="0" presStyleCnt="5"/>
      <dgm:spPr/>
    </dgm:pt>
    <dgm:pt modelId="{65F37D4D-A306-4785-8F3A-7E2380462479}" type="pres">
      <dgm:prSet presAssocID="{14EDD0BF-45D0-468E-AF58-08936FE07497}" presName="parentText" presStyleLbl="node1" presStyleIdx="0" presStyleCnt="5">
        <dgm:presLayoutVars>
          <dgm:chMax val="0"/>
          <dgm:bulletEnabled val="1"/>
        </dgm:presLayoutVars>
      </dgm:prSet>
      <dgm:spPr/>
    </dgm:pt>
    <dgm:pt modelId="{7D8EAD98-987C-4D2B-802F-199213BE4A69}" type="pres">
      <dgm:prSet presAssocID="{14EDD0BF-45D0-468E-AF58-08936FE07497}" presName="negativeSpace" presStyleCnt="0"/>
      <dgm:spPr/>
    </dgm:pt>
    <dgm:pt modelId="{475F446D-D909-4483-857B-119555281255}" type="pres">
      <dgm:prSet presAssocID="{14EDD0BF-45D0-468E-AF58-08936FE07497}" presName="childText" presStyleLbl="conFgAcc1" presStyleIdx="0" presStyleCnt="5">
        <dgm:presLayoutVars>
          <dgm:bulletEnabled val="1"/>
        </dgm:presLayoutVars>
      </dgm:prSet>
      <dgm:spPr/>
    </dgm:pt>
    <dgm:pt modelId="{3FA75980-B79C-4805-823C-D51B91662CD1}" type="pres">
      <dgm:prSet presAssocID="{2258A816-FD0A-4D7E-A9E5-47864DE2A1B4}" presName="spaceBetweenRectangles" presStyleCnt="0"/>
      <dgm:spPr/>
    </dgm:pt>
    <dgm:pt modelId="{8AF23EEC-6C55-48BC-BC8C-C52C25368FFE}" type="pres">
      <dgm:prSet presAssocID="{441550FB-24E2-43F1-858B-4A8153B719D1}" presName="parentLin" presStyleCnt="0"/>
      <dgm:spPr/>
    </dgm:pt>
    <dgm:pt modelId="{115D6CF4-ED6B-4E46-812B-5E24C78B16F2}" type="pres">
      <dgm:prSet presAssocID="{441550FB-24E2-43F1-858B-4A8153B719D1}" presName="parentLeftMargin" presStyleLbl="node1" presStyleIdx="0" presStyleCnt="5"/>
      <dgm:spPr/>
    </dgm:pt>
    <dgm:pt modelId="{A6E308E3-0904-4C3C-ADBA-A5E7AA1AB182}" type="pres">
      <dgm:prSet presAssocID="{441550FB-24E2-43F1-858B-4A8153B719D1}" presName="parentText" presStyleLbl="node1" presStyleIdx="1" presStyleCnt="5">
        <dgm:presLayoutVars>
          <dgm:chMax val="0"/>
          <dgm:bulletEnabled val="1"/>
        </dgm:presLayoutVars>
      </dgm:prSet>
      <dgm:spPr/>
    </dgm:pt>
    <dgm:pt modelId="{D4B183EB-6D07-48D6-AC35-A22CA180BF97}" type="pres">
      <dgm:prSet presAssocID="{441550FB-24E2-43F1-858B-4A8153B719D1}" presName="negativeSpace" presStyleCnt="0"/>
      <dgm:spPr/>
    </dgm:pt>
    <dgm:pt modelId="{6B0A28A1-C711-4A67-8585-52D66459B12D}" type="pres">
      <dgm:prSet presAssocID="{441550FB-24E2-43F1-858B-4A8153B719D1}" presName="childText" presStyleLbl="conFgAcc1" presStyleIdx="1" presStyleCnt="5">
        <dgm:presLayoutVars>
          <dgm:bulletEnabled val="1"/>
        </dgm:presLayoutVars>
      </dgm:prSet>
      <dgm:spPr/>
    </dgm:pt>
    <dgm:pt modelId="{9608F47E-EF48-45FC-A43A-107EDED30CC7}" type="pres">
      <dgm:prSet presAssocID="{CA6D83ED-4050-4133-A2A4-5DF4DAE627D8}" presName="spaceBetweenRectangles" presStyleCnt="0"/>
      <dgm:spPr/>
    </dgm:pt>
    <dgm:pt modelId="{A31AC0E5-FFE3-484F-A14E-AA93C68E910E}" type="pres">
      <dgm:prSet presAssocID="{CB17D0D0-29D8-4656-AB46-70C54F07F92E}" presName="parentLin" presStyleCnt="0"/>
      <dgm:spPr/>
    </dgm:pt>
    <dgm:pt modelId="{2EFA70B4-B8B2-4DCF-A921-7AB0A4107431}" type="pres">
      <dgm:prSet presAssocID="{CB17D0D0-29D8-4656-AB46-70C54F07F92E}" presName="parentLeftMargin" presStyleLbl="node1" presStyleIdx="1" presStyleCnt="5"/>
      <dgm:spPr/>
    </dgm:pt>
    <dgm:pt modelId="{C1059668-8907-4406-892C-C52AFE8826CD}" type="pres">
      <dgm:prSet presAssocID="{CB17D0D0-29D8-4656-AB46-70C54F07F92E}" presName="parentText" presStyleLbl="node1" presStyleIdx="2" presStyleCnt="5">
        <dgm:presLayoutVars>
          <dgm:chMax val="0"/>
          <dgm:bulletEnabled val="1"/>
        </dgm:presLayoutVars>
      </dgm:prSet>
      <dgm:spPr/>
    </dgm:pt>
    <dgm:pt modelId="{EA86727A-552B-40D0-A4C1-621FCF3B0449}" type="pres">
      <dgm:prSet presAssocID="{CB17D0D0-29D8-4656-AB46-70C54F07F92E}" presName="negativeSpace" presStyleCnt="0"/>
      <dgm:spPr/>
    </dgm:pt>
    <dgm:pt modelId="{DC6294EE-2CAE-4DE2-9BED-8EC2E80624E6}" type="pres">
      <dgm:prSet presAssocID="{CB17D0D0-29D8-4656-AB46-70C54F07F92E}" presName="childText" presStyleLbl="conFgAcc1" presStyleIdx="2" presStyleCnt="5">
        <dgm:presLayoutVars>
          <dgm:bulletEnabled val="1"/>
        </dgm:presLayoutVars>
      </dgm:prSet>
      <dgm:spPr/>
    </dgm:pt>
    <dgm:pt modelId="{C05E226F-8244-4999-A979-F7CC5BA11D60}" type="pres">
      <dgm:prSet presAssocID="{45B68492-8BF5-4328-8E74-8D273A2370CE}" presName="spaceBetweenRectangles" presStyleCnt="0"/>
      <dgm:spPr/>
    </dgm:pt>
    <dgm:pt modelId="{99EE7BFF-6339-417A-AE2C-682DB0A86481}" type="pres">
      <dgm:prSet presAssocID="{523864C6-4541-4D7B-AB90-60D0C490E31B}" presName="parentLin" presStyleCnt="0"/>
      <dgm:spPr/>
    </dgm:pt>
    <dgm:pt modelId="{721E2289-5B7E-49A8-A64C-07D550B794D7}" type="pres">
      <dgm:prSet presAssocID="{523864C6-4541-4D7B-AB90-60D0C490E31B}" presName="parentLeftMargin" presStyleLbl="node1" presStyleIdx="2" presStyleCnt="5"/>
      <dgm:spPr/>
    </dgm:pt>
    <dgm:pt modelId="{E11FAC62-B53A-476B-A2FB-1DF76FC75796}" type="pres">
      <dgm:prSet presAssocID="{523864C6-4541-4D7B-AB90-60D0C490E31B}" presName="parentText" presStyleLbl="node1" presStyleIdx="3" presStyleCnt="5">
        <dgm:presLayoutVars>
          <dgm:chMax val="0"/>
          <dgm:bulletEnabled val="1"/>
        </dgm:presLayoutVars>
      </dgm:prSet>
      <dgm:spPr/>
    </dgm:pt>
    <dgm:pt modelId="{AEC59960-0ECE-459A-813D-47B26CEE5F06}" type="pres">
      <dgm:prSet presAssocID="{523864C6-4541-4D7B-AB90-60D0C490E31B}" presName="negativeSpace" presStyleCnt="0"/>
      <dgm:spPr/>
    </dgm:pt>
    <dgm:pt modelId="{2B317BF3-9156-4B1B-9593-572DDFD5E885}" type="pres">
      <dgm:prSet presAssocID="{523864C6-4541-4D7B-AB90-60D0C490E31B}" presName="childText" presStyleLbl="conFgAcc1" presStyleIdx="3" presStyleCnt="5">
        <dgm:presLayoutVars>
          <dgm:bulletEnabled val="1"/>
        </dgm:presLayoutVars>
      </dgm:prSet>
      <dgm:spPr/>
    </dgm:pt>
    <dgm:pt modelId="{01E214C8-1F81-46FC-92BA-145D032C8CD5}" type="pres">
      <dgm:prSet presAssocID="{2F0FC399-C20D-40BA-88BD-12C9894A7915}" presName="spaceBetweenRectangles" presStyleCnt="0"/>
      <dgm:spPr/>
    </dgm:pt>
    <dgm:pt modelId="{5DC9CC12-E439-4EB9-8DDF-143690EBE4D2}" type="pres">
      <dgm:prSet presAssocID="{91097854-4970-488F-A327-C525F529F9C2}" presName="parentLin" presStyleCnt="0"/>
      <dgm:spPr/>
    </dgm:pt>
    <dgm:pt modelId="{2D6E968B-0B8A-410E-A2A8-F7DB18175A1C}" type="pres">
      <dgm:prSet presAssocID="{91097854-4970-488F-A327-C525F529F9C2}" presName="parentLeftMargin" presStyleLbl="node1" presStyleIdx="3" presStyleCnt="5"/>
      <dgm:spPr/>
    </dgm:pt>
    <dgm:pt modelId="{507851D4-219F-4979-A0F4-15A753099BDC}" type="pres">
      <dgm:prSet presAssocID="{91097854-4970-488F-A327-C525F529F9C2}" presName="parentText" presStyleLbl="node1" presStyleIdx="4" presStyleCnt="5">
        <dgm:presLayoutVars>
          <dgm:chMax val="0"/>
          <dgm:bulletEnabled val="1"/>
        </dgm:presLayoutVars>
      </dgm:prSet>
      <dgm:spPr/>
    </dgm:pt>
    <dgm:pt modelId="{042B0EAC-B309-4C4F-B267-3B1B0A13D0FC}" type="pres">
      <dgm:prSet presAssocID="{91097854-4970-488F-A327-C525F529F9C2}" presName="negativeSpace" presStyleCnt="0"/>
      <dgm:spPr/>
    </dgm:pt>
    <dgm:pt modelId="{B411C600-3C41-470F-A176-B1C28B092080}" type="pres">
      <dgm:prSet presAssocID="{91097854-4970-488F-A327-C525F529F9C2}" presName="childText" presStyleLbl="conFgAcc1" presStyleIdx="4" presStyleCnt="5">
        <dgm:presLayoutVars>
          <dgm:bulletEnabled val="1"/>
        </dgm:presLayoutVars>
      </dgm:prSet>
      <dgm:spPr/>
    </dgm:pt>
  </dgm:ptLst>
  <dgm:cxnLst>
    <dgm:cxn modelId="{91B9EB05-0BE7-4040-A12F-94DD19AB0ADF}" srcId="{14EDD0BF-45D0-468E-AF58-08936FE07497}" destId="{C9654B47-C403-49F1-9B9B-5FAE5C7C0B3A}" srcOrd="0" destOrd="0" parTransId="{DCFC2BAF-4D9E-41EC-AF8E-DDD1417B27CD}" sibTransId="{9CE315BC-91C1-4E96-868A-61D4951BB60E}"/>
    <dgm:cxn modelId="{3883E710-440E-4727-A27F-DE6EE36E38E3}" srcId="{14EDD0BF-45D0-468E-AF58-08936FE07497}" destId="{63C861FE-E6A2-43BD-ACB7-8344427C4155}" srcOrd="1" destOrd="0" parTransId="{27E61FBF-CE9E-4188-8FBE-68EC1114AC63}" sibTransId="{BB5DE127-F0A5-4788-B88C-4BC07CB31C92}"/>
    <dgm:cxn modelId="{0182B519-41D1-460A-9700-FCD0A9E40B91}" type="presOf" srcId="{63C861FE-E6A2-43BD-ACB7-8344427C4155}" destId="{475F446D-D909-4483-857B-119555281255}" srcOrd="0" destOrd="1" presId="urn:microsoft.com/office/officeart/2005/8/layout/list1"/>
    <dgm:cxn modelId="{9136CE19-7A9C-47BD-A3DD-770ED8944C88}" type="presOf" srcId="{CB17D0D0-29D8-4656-AB46-70C54F07F92E}" destId="{2EFA70B4-B8B2-4DCF-A921-7AB0A4107431}" srcOrd="0" destOrd="0" presId="urn:microsoft.com/office/officeart/2005/8/layout/list1"/>
    <dgm:cxn modelId="{6364531B-D103-4BBC-B464-365D8A2E7E43}" type="presOf" srcId="{BD9B28B6-7EF9-4344-A60B-A661F8BFC4C7}" destId="{6B0A28A1-C711-4A67-8585-52D66459B12D}" srcOrd="0" destOrd="0" presId="urn:microsoft.com/office/officeart/2005/8/layout/list1"/>
    <dgm:cxn modelId="{4362DB1E-F0CF-4AE1-A136-845D717371BB}" type="presOf" srcId="{2049E2FD-37FD-4A93-9A6A-9FA36A81AEDB}" destId="{DC6294EE-2CAE-4DE2-9BED-8EC2E80624E6}" srcOrd="0" destOrd="0" presId="urn:microsoft.com/office/officeart/2005/8/layout/list1"/>
    <dgm:cxn modelId="{EC99F730-1B17-4C35-9435-9BF6688ACB50}" type="presOf" srcId="{14EDD0BF-45D0-468E-AF58-08936FE07497}" destId="{2DD2BC9F-F314-4BEF-90E5-E69B900D1523}" srcOrd="0" destOrd="0" presId="urn:microsoft.com/office/officeart/2005/8/layout/list1"/>
    <dgm:cxn modelId="{982CA267-DCFB-4653-8460-804B3DC6BA24}" type="presOf" srcId="{F3038BE5-C62B-449F-8171-D3A03281CFB8}" destId="{2B317BF3-9156-4B1B-9593-572DDFD5E885}" srcOrd="0" destOrd="1" presId="urn:microsoft.com/office/officeart/2005/8/layout/list1"/>
    <dgm:cxn modelId="{93875748-B793-4323-BB75-D3BECFFB796F}" type="presOf" srcId="{523864C6-4541-4D7B-AB90-60D0C490E31B}" destId="{721E2289-5B7E-49A8-A64C-07D550B794D7}" srcOrd="0" destOrd="0" presId="urn:microsoft.com/office/officeart/2005/8/layout/list1"/>
    <dgm:cxn modelId="{DDE2864A-412E-43B9-97F7-CC2E17B62375}" type="presOf" srcId="{C9654B47-C403-49F1-9B9B-5FAE5C7C0B3A}" destId="{475F446D-D909-4483-857B-119555281255}" srcOrd="0" destOrd="0" presId="urn:microsoft.com/office/officeart/2005/8/layout/list1"/>
    <dgm:cxn modelId="{39CDC44B-D4CC-44CD-9283-53D4A2E6CF77}" type="presOf" srcId="{CB17D0D0-29D8-4656-AB46-70C54F07F92E}" destId="{C1059668-8907-4406-892C-C52AFE8826CD}" srcOrd="1" destOrd="0" presId="urn:microsoft.com/office/officeart/2005/8/layout/list1"/>
    <dgm:cxn modelId="{90DB936E-10FC-4FC9-A96B-6B4823229DBC}" type="presOf" srcId="{91097854-4970-488F-A327-C525F529F9C2}" destId="{507851D4-219F-4979-A0F4-15A753099BDC}" srcOrd="1" destOrd="0" presId="urn:microsoft.com/office/officeart/2005/8/layout/list1"/>
    <dgm:cxn modelId="{845BA353-A8D1-4C0E-9F1F-55D9B6DB9E4D}" srcId="{CB17D0D0-29D8-4656-AB46-70C54F07F92E}" destId="{2049E2FD-37FD-4A93-9A6A-9FA36A81AEDB}" srcOrd="0" destOrd="0" parTransId="{96CCEE43-025E-406E-B62B-CF1032986565}" sibTransId="{22520C47-AA92-429C-BB70-99DFDD6B092E}"/>
    <dgm:cxn modelId="{A3DD9154-90A7-46C0-8E22-068BBA584BCF}" type="presOf" srcId="{3BE6F41C-D1EF-446E-A63B-807C2D92ADF4}" destId="{2E364CB4-7EA6-4981-BB74-3C373F5F9078}" srcOrd="0" destOrd="0" presId="urn:microsoft.com/office/officeart/2005/8/layout/list1"/>
    <dgm:cxn modelId="{61C55F55-D24A-4F50-B736-672EBADE7D3B}" type="presOf" srcId="{91097854-4970-488F-A327-C525F529F9C2}" destId="{2D6E968B-0B8A-410E-A2A8-F7DB18175A1C}" srcOrd="0" destOrd="0" presId="urn:microsoft.com/office/officeart/2005/8/layout/list1"/>
    <dgm:cxn modelId="{D0114E78-7A6B-4D88-842A-87760935765B}" srcId="{441550FB-24E2-43F1-858B-4A8153B719D1}" destId="{BD9B28B6-7EF9-4344-A60B-A661F8BFC4C7}" srcOrd="0" destOrd="0" parTransId="{4744E616-8FDC-48A7-9C1F-87B6988C8508}" sibTransId="{4BBFEC04-B86F-44B7-B6BD-E5B4958036B2}"/>
    <dgm:cxn modelId="{05DF287A-34B9-47A5-91AC-2B87C52CBA19}" type="presOf" srcId="{23C35D37-15E0-4C36-BB9D-7D5215A7C0B9}" destId="{B411C600-3C41-470F-A176-B1C28B092080}" srcOrd="0" destOrd="0" presId="urn:microsoft.com/office/officeart/2005/8/layout/list1"/>
    <dgm:cxn modelId="{FB696283-A457-4A6A-8160-1FB95B59055B}" srcId="{523864C6-4541-4D7B-AB90-60D0C490E31B}" destId="{F3038BE5-C62B-449F-8171-D3A03281CFB8}" srcOrd="1" destOrd="0" parTransId="{44763D99-09F8-4213-8281-DEC154C2DCB9}" sibTransId="{D6AC1208-AF35-4EEC-968D-AD635C2F89ED}"/>
    <dgm:cxn modelId="{41BAF88D-5DEE-40E2-B3E9-26AB982E78A0}" type="presOf" srcId="{725F75DD-6776-4581-8BA7-281B685B4661}" destId="{2B317BF3-9156-4B1B-9593-572DDFD5E885}" srcOrd="0" destOrd="0" presId="urn:microsoft.com/office/officeart/2005/8/layout/list1"/>
    <dgm:cxn modelId="{6AC46695-4ED0-443D-8D74-165FE2984A4E}" srcId="{523864C6-4541-4D7B-AB90-60D0C490E31B}" destId="{725F75DD-6776-4581-8BA7-281B685B4661}" srcOrd="0" destOrd="0" parTransId="{CB961F84-966D-4453-9400-25D2D3B17A8B}" sibTransId="{D5394121-EFD5-4D5A-AE20-DDD706426C7C}"/>
    <dgm:cxn modelId="{BD7E029C-CC07-48D4-9617-77B9A5089112}" srcId="{3BE6F41C-D1EF-446E-A63B-807C2D92ADF4}" destId="{441550FB-24E2-43F1-858B-4A8153B719D1}" srcOrd="1" destOrd="0" parTransId="{8630590C-5B3A-4278-85D4-7935FF951926}" sibTransId="{CA6D83ED-4050-4133-A2A4-5DF4DAE627D8}"/>
    <dgm:cxn modelId="{0871B29E-D13E-4389-B429-7CC98CB52FE8}" type="presOf" srcId="{14EDD0BF-45D0-468E-AF58-08936FE07497}" destId="{65F37D4D-A306-4785-8F3A-7E2380462479}" srcOrd="1" destOrd="0" presId="urn:microsoft.com/office/officeart/2005/8/layout/list1"/>
    <dgm:cxn modelId="{47733FA5-2C0B-4F60-9A5E-64DE0AEDD7A2}" type="presOf" srcId="{441550FB-24E2-43F1-858B-4A8153B719D1}" destId="{A6E308E3-0904-4C3C-ADBA-A5E7AA1AB182}" srcOrd="1" destOrd="0" presId="urn:microsoft.com/office/officeart/2005/8/layout/list1"/>
    <dgm:cxn modelId="{0FAE89B4-3ACF-4D07-8EDE-3C2AF57CB6CE}" srcId="{3BE6F41C-D1EF-446E-A63B-807C2D92ADF4}" destId="{523864C6-4541-4D7B-AB90-60D0C490E31B}" srcOrd="3" destOrd="0" parTransId="{C23212AD-A793-434C-AB26-25F69875771A}" sibTransId="{2F0FC399-C20D-40BA-88BD-12C9894A7915}"/>
    <dgm:cxn modelId="{1EF5E4C0-E01D-45DE-A76D-05AFAD3972F8}" type="presOf" srcId="{523864C6-4541-4D7B-AB90-60D0C490E31B}" destId="{E11FAC62-B53A-476B-A2FB-1DF76FC75796}" srcOrd="1" destOrd="0" presId="urn:microsoft.com/office/officeart/2005/8/layout/list1"/>
    <dgm:cxn modelId="{2AD5BED0-45A6-4213-AD3A-572D4C5713D1}" srcId="{3BE6F41C-D1EF-446E-A63B-807C2D92ADF4}" destId="{CB17D0D0-29D8-4656-AB46-70C54F07F92E}" srcOrd="2" destOrd="0" parTransId="{4142CC1B-5361-4545-97D8-93BAC2647F39}" sibTransId="{45B68492-8BF5-4328-8E74-8D273A2370CE}"/>
    <dgm:cxn modelId="{6F1D8CD4-D0A8-4730-8B90-BF4B99341626}" srcId="{3BE6F41C-D1EF-446E-A63B-807C2D92ADF4}" destId="{91097854-4970-488F-A327-C525F529F9C2}" srcOrd="4" destOrd="0" parTransId="{E81947F5-D512-4A4F-8C8E-C61C4762BBDC}" sibTransId="{D96A02F1-5244-4A3A-8438-EBCB4EA0CC5E}"/>
    <dgm:cxn modelId="{92956BD6-78C3-4307-93E2-8F2D00143E79}" type="presOf" srcId="{441550FB-24E2-43F1-858B-4A8153B719D1}" destId="{115D6CF4-ED6B-4E46-812B-5E24C78B16F2}" srcOrd="0" destOrd="0" presId="urn:microsoft.com/office/officeart/2005/8/layout/list1"/>
    <dgm:cxn modelId="{D889E6DC-F5A7-4F6D-ADBA-EAFC0A31961B}" srcId="{91097854-4970-488F-A327-C525F529F9C2}" destId="{23C35D37-15E0-4C36-BB9D-7D5215A7C0B9}" srcOrd="0" destOrd="0" parTransId="{E37383A9-C9A3-4F0D-8F64-04BF4BEB890A}" sibTransId="{5C308F6F-A427-4A2D-A6DD-41FFE94B6F04}"/>
    <dgm:cxn modelId="{896710FA-CCF0-413E-BC93-E2C4E71825CE}" srcId="{3BE6F41C-D1EF-446E-A63B-807C2D92ADF4}" destId="{14EDD0BF-45D0-468E-AF58-08936FE07497}" srcOrd="0" destOrd="0" parTransId="{C6472067-AD2F-46BA-ABDE-6A89870EBA6D}" sibTransId="{2258A816-FD0A-4D7E-A9E5-47864DE2A1B4}"/>
    <dgm:cxn modelId="{01EB9742-99F1-4A9F-8B2E-4E3CBA646467}" type="presParOf" srcId="{2E364CB4-7EA6-4981-BB74-3C373F5F9078}" destId="{D08DB956-3976-4174-B53B-FB4049306D62}" srcOrd="0" destOrd="0" presId="urn:microsoft.com/office/officeart/2005/8/layout/list1"/>
    <dgm:cxn modelId="{B6B9BEF1-C44A-4D4A-A933-77B1657438AD}" type="presParOf" srcId="{D08DB956-3976-4174-B53B-FB4049306D62}" destId="{2DD2BC9F-F314-4BEF-90E5-E69B900D1523}" srcOrd="0" destOrd="0" presId="urn:microsoft.com/office/officeart/2005/8/layout/list1"/>
    <dgm:cxn modelId="{D8A99854-6ABF-444A-A32A-5A517C0AD787}" type="presParOf" srcId="{D08DB956-3976-4174-B53B-FB4049306D62}" destId="{65F37D4D-A306-4785-8F3A-7E2380462479}" srcOrd="1" destOrd="0" presId="urn:microsoft.com/office/officeart/2005/8/layout/list1"/>
    <dgm:cxn modelId="{6DDB5F4A-B5DD-41D5-9D12-590C539C332C}" type="presParOf" srcId="{2E364CB4-7EA6-4981-BB74-3C373F5F9078}" destId="{7D8EAD98-987C-4D2B-802F-199213BE4A69}" srcOrd="1" destOrd="0" presId="urn:microsoft.com/office/officeart/2005/8/layout/list1"/>
    <dgm:cxn modelId="{014404F2-7C15-430C-9B4A-72C262D94661}" type="presParOf" srcId="{2E364CB4-7EA6-4981-BB74-3C373F5F9078}" destId="{475F446D-D909-4483-857B-119555281255}" srcOrd="2" destOrd="0" presId="urn:microsoft.com/office/officeart/2005/8/layout/list1"/>
    <dgm:cxn modelId="{BA8D8C1D-CA18-46F8-8469-C04E5DC5B723}" type="presParOf" srcId="{2E364CB4-7EA6-4981-BB74-3C373F5F9078}" destId="{3FA75980-B79C-4805-823C-D51B91662CD1}" srcOrd="3" destOrd="0" presId="urn:microsoft.com/office/officeart/2005/8/layout/list1"/>
    <dgm:cxn modelId="{B0C0A90E-4710-4775-9490-4AF79C5DD92E}" type="presParOf" srcId="{2E364CB4-7EA6-4981-BB74-3C373F5F9078}" destId="{8AF23EEC-6C55-48BC-BC8C-C52C25368FFE}" srcOrd="4" destOrd="0" presId="urn:microsoft.com/office/officeart/2005/8/layout/list1"/>
    <dgm:cxn modelId="{E9F4EED9-280D-4617-9FA4-D7974379C65B}" type="presParOf" srcId="{8AF23EEC-6C55-48BC-BC8C-C52C25368FFE}" destId="{115D6CF4-ED6B-4E46-812B-5E24C78B16F2}" srcOrd="0" destOrd="0" presId="urn:microsoft.com/office/officeart/2005/8/layout/list1"/>
    <dgm:cxn modelId="{9DB3ECD4-CE2B-49D9-9674-C6F08277A7FA}" type="presParOf" srcId="{8AF23EEC-6C55-48BC-BC8C-C52C25368FFE}" destId="{A6E308E3-0904-4C3C-ADBA-A5E7AA1AB182}" srcOrd="1" destOrd="0" presId="urn:microsoft.com/office/officeart/2005/8/layout/list1"/>
    <dgm:cxn modelId="{6249551B-9130-451E-BC94-CB5D4DFD8A8E}" type="presParOf" srcId="{2E364CB4-7EA6-4981-BB74-3C373F5F9078}" destId="{D4B183EB-6D07-48D6-AC35-A22CA180BF97}" srcOrd="5" destOrd="0" presId="urn:microsoft.com/office/officeart/2005/8/layout/list1"/>
    <dgm:cxn modelId="{2FCC1BBB-EA95-4662-92FE-D56F4B3532E8}" type="presParOf" srcId="{2E364CB4-7EA6-4981-BB74-3C373F5F9078}" destId="{6B0A28A1-C711-4A67-8585-52D66459B12D}" srcOrd="6" destOrd="0" presId="urn:microsoft.com/office/officeart/2005/8/layout/list1"/>
    <dgm:cxn modelId="{3795D323-0FA5-46B5-8852-81D73435C0F9}" type="presParOf" srcId="{2E364CB4-7EA6-4981-BB74-3C373F5F9078}" destId="{9608F47E-EF48-45FC-A43A-107EDED30CC7}" srcOrd="7" destOrd="0" presId="urn:microsoft.com/office/officeart/2005/8/layout/list1"/>
    <dgm:cxn modelId="{65AD81B7-2675-47FB-9581-E2101FC05BD4}" type="presParOf" srcId="{2E364CB4-7EA6-4981-BB74-3C373F5F9078}" destId="{A31AC0E5-FFE3-484F-A14E-AA93C68E910E}" srcOrd="8" destOrd="0" presId="urn:microsoft.com/office/officeart/2005/8/layout/list1"/>
    <dgm:cxn modelId="{F05CF2CA-B007-47FD-AA25-546E7FA2D210}" type="presParOf" srcId="{A31AC0E5-FFE3-484F-A14E-AA93C68E910E}" destId="{2EFA70B4-B8B2-4DCF-A921-7AB0A4107431}" srcOrd="0" destOrd="0" presId="urn:microsoft.com/office/officeart/2005/8/layout/list1"/>
    <dgm:cxn modelId="{9335CDF3-496D-4E2D-A5CC-D81585175FB4}" type="presParOf" srcId="{A31AC0E5-FFE3-484F-A14E-AA93C68E910E}" destId="{C1059668-8907-4406-892C-C52AFE8826CD}" srcOrd="1" destOrd="0" presId="urn:microsoft.com/office/officeart/2005/8/layout/list1"/>
    <dgm:cxn modelId="{EC927770-3C40-4CC6-A704-E6BF7E8BA4E4}" type="presParOf" srcId="{2E364CB4-7EA6-4981-BB74-3C373F5F9078}" destId="{EA86727A-552B-40D0-A4C1-621FCF3B0449}" srcOrd="9" destOrd="0" presId="urn:microsoft.com/office/officeart/2005/8/layout/list1"/>
    <dgm:cxn modelId="{91F51D1F-B502-4F0B-A715-DDE42CE2219C}" type="presParOf" srcId="{2E364CB4-7EA6-4981-BB74-3C373F5F9078}" destId="{DC6294EE-2CAE-4DE2-9BED-8EC2E80624E6}" srcOrd="10" destOrd="0" presId="urn:microsoft.com/office/officeart/2005/8/layout/list1"/>
    <dgm:cxn modelId="{BB6EBE5D-E849-477F-B3D5-47ADF43693FC}" type="presParOf" srcId="{2E364CB4-7EA6-4981-BB74-3C373F5F9078}" destId="{C05E226F-8244-4999-A979-F7CC5BA11D60}" srcOrd="11" destOrd="0" presId="urn:microsoft.com/office/officeart/2005/8/layout/list1"/>
    <dgm:cxn modelId="{53A7AA19-FDE8-4AA1-94D1-39168DD24DC2}" type="presParOf" srcId="{2E364CB4-7EA6-4981-BB74-3C373F5F9078}" destId="{99EE7BFF-6339-417A-AE2C-682DB0A86481}" srcOrd="12" destOrd="0" presId="urn:microsoft.com/office/officeart/2005/8/layout/list1"/>
    <dgm:cxn modelId="{8A2F2F51-CDCA-4411-AB7F-7A34808DD4DA}" type="presParOf" srcId="{99EE7BFF-6339-417A-AE2C-682DB0A86481}" destId="{721E2289-5B7E-49A8-A64C-07D550B794D7}" srcOrd="0" destOrd="0" presId="urn:microsoft.com/office/officeart/2005/8/layout/list1"/>
    <dgm:cxn modelId="{F3A71764-10B9-4846-993E-1058BB437C90}" type="presParOf" srcId="{99EE7BFF-6339-417A-AE2C-682DB0A86481}" destId="{E11FAC62-B53A-476B-A2FB-1DF76FC75796}" srcOrd="1" destOrd="0" presId="urn:microsoft.com/office/officeart/2005/8/layout/list1"/>
    <dgm:cxn modelId="{8F9C7AF9-124A-4B14-99BA-F7784E145859}" type="presParOf" srcId="{2E364CB4-7EA6-4981-BB74-3C373F5F9078}" destId="{AEC59960-0ECE-459A-813D-47B26CEE5F06}" srcOrd="13" destOrd="0" presId="urn:microsoft.com/office/officeart/2005/8/layout/list1"/>
    <dgm:cxn modelId="{C1BD4017-C802-4523-802B-FB57B412E0FE}" type="presParOf" srcId="{2E364CB4-7EA6-4981-BB74-3C373F5F9078}" destId="{2B317BF3-9156-4B1B-9593-572DDFD5E885}" srcOrd="14" destOrd="0" presId="urn:microsoft.com/office/officeart/2005/8/layout/list1"/>
    <dgm:cxn modelId="{19DBB059-6CF6-474E-8C56-BF4FDBEBD26F}" type="presParOf" srcId="{2E364CB4-7EA6-4981-BB74-3C373F5F9078}" destId="{01E214C8-1F81-46FC-92BA-145D032C8CD5}" srcOrd="15" destOrd="0" presId="urn:microsoft.com/office/officeart/2005/8/layout/list1"/>
    <dgm:cxn modelId="{FD5F4CF9-B6FD-465C-A013-13148B8A3401}" type="presParOf" srcId="{2E364CB4-7EA6-4981-BB74-3C373F5F9078}" destId="{5DC9CC12-E439-4EB9-8DDF-143690EBE4D2}" srcOrd="16" destOrd="0" presId="urn:microsoft.com/office/officeart/2005/8/layout/list1"/>
    <dgm:cxn modelId="{87F8A24B-BA33-4F70-BA8E-78C7223EC324}" type="presParOf" srcId="{5DC9CC12-E439-4EB9-8DDF-143690EBE4D2}" destId="{2D6E968B-0B8A-410E-A2A8-F7DB18175A1C}" srcOrd="0" destOrd="0" presId="urn:microsoft.com/office/officeart/2005/8/layout/list1"/>
    <dgm:cxn modelId="{B06167BC-28DA-45D1-8DA8-E36911648C33}" type="presParOf" srcId="{5DC9CC12-E439-4EB9-8DDF-143690EBE4D2}" destId="{507851D4-219F-4979-A0F4-15A753099BDC}" srcOrd="1" destOrd="0" presId="urn:microsoft.com/office/officeart/2005/8/layout/list1"/>
    <dgm:cxn modelId="{BE94A1D0-1979-487A-8E09-9CBC762AE5FA}" type="presParOf" srcId="{2E364CB4-7EA6-4981-BB74-3C373F5F9078}" destId="{042B0EAC-B309-4C4F-B267-3B1B0A13D0FC}" srcOrd="17" destOrd="0" presId="urn:microsoft.com/office/officeart/2005/8/layout/list1"/>
    <dgm:cxn modelId="{DBAC28ED-A749-4C47-8104-D9CD712102BD}" type="presParOf" srcId="{2E364CB4-7EA6-4981-BB74-3C373F5F9078}" destId="{B411C600-3C41-470F-A176-B1C28B092080}"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dgm:spPr/>
      <dgm:t>
        <a:bodyPr/>
        <a:lstStyle/>
        <a:p>
          <a:r>
            <a:rPr lang="en-US" baseline="0" dirty="0"/>
            <a:t>By Scaling Up you can benefit from </a:t>
          </a:r>
          <a:endParaRPr lang="en-US" dirty="0"/>
        </a:p>
      </dgm:t>
    </dgm:pt>
    <dgm:pt modelId="{6D8A3AF1-7EF7-4FC7-97A9-FA9648BBC98E}" type="sibTrans" cxnId="{260B3482-722A-499F-81D2-755E44F872EF}">
      <dgm:prSet/>
      <dgm:spPr/>
      <dgm:t>
        <a:bodyPr/>
        <a:lstStyle/>
        <a:p>
          <a:endParaRPr lang="en-US"/>
        </a:p>
      </dgm:t>
    </dgm:pt>
    <dgm:pt modelId="{C8BC66F6-A8A0-4AF0-99C1-FE2287F84733}" type="par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5464CD1-2A0A-42CF-9EFB-CFBD923C7CDB}">
      <dgm:prSet/>
      <dgm:spPr/>
      <dgm:t>
        <a:bodyPr/>
        <a:lstStyle/>
        <a:p>
          <a:r>
            <a:rPr lang="en-US" dirty="0"/>
            <a:t>In Log Analytics you Pay-by-Ingestion</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313"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dgm:t>
        <a:bodyPr/>
        <a:lstStyle/>
        <a:p>
          <a:r>
            <a:rPr lang="en-US" baseline="0" dirty="0"/>
            <a:t>When you scale up you get “X” readers per node for Polybase</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55481" custLinFactNeighborY="-19619"/>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3_5" csCatId="accent3" phldr="1"/>
      <dgm:spPr/>
      <dgm:t>
        <a:bodyPr/>
        <a:lstStyle/>
        <a:p>
          <a:endParaRPr lang="en-US"/>
        </a:p>
      </dgm:t>
    </dgm:pt>
    <dgm:pt modelId="{C5464CD1-2A0A-42CF-9EFB-CFBD923C7CDB}">
      <dgm:prSet/>
      <dgm:spPr/>
      <dgm:t>
        <a:bodyPr/>
        <a:lstStyle/>
        <a:p>
          <a:r>
            <a:rPr lang="en-US" baseline="0" dirty="0"/>
            <a:t>When you scale up you get “X” readers per node for COPY</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62990" custLinFactNeighborY="-3033"/>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4"/>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C22A0FF-D522-463C-ACB8-6FC88DA330BE}" type="doc">
      <dgm:prSet loTypeId="urn:microsoft.com/office/officeart/2005/8/layout/list1" loCatId="list" qsTypeId="urn:microsoft.com/office/officeart/2005/8/quickstyle/simple1" qsCatId="simple" csTypeId="urn:microsoft.com/office/officeart/2005/8/colors/accent0_3" csCatId="mainScheme"/>
      <dgm:spPr/>
      <dgm:t>
        <a:bodyPr/>
        <a:lstStyle/>
        <a:p>
          <a:endParaRPr lang="en-US"/>
        </a:p>
      </dgm:t>
    </dgm:pt>
    <dgm:pt modelId="{930CD3AE-137A-43F4-83E4-57E78686D231}">
      <dgm:prSet custT="1"/>
      <dgm:spPr/>
      <dgm:t>
        <a:bodyPr/>
        <a:lstStyle/>
        <a:p>
          <a:r>
            <a:rPr lang="en-US" sz="2000" baseline="0"/>
            <a:t>Append-only log data</a:t>
          </a:r>
          <a:endParaRPr lang="en-US" sz="2000"/>
        </a:p>
      </dgm:t>
    </dgm:pt>
    <dgm:pt modelId="{1CE8F09A-F193-4813-8892-221EE93CE322}" type="parTrans" cxnId="{57D520E7-283B-4D19-A877-3F5F29E02723}">
      <dgm:prSet/>
      <dgm:spPr/>
      <dgm:t>
        <a:bodyPr/>
        <a:lstStyle/>
        <a:p>
          <a:endParaRPr lang="en-US"/>
        </a:p>
      </dgm:t>
    </dgm:pt>
    <dgm:pt modelId="{00EA72C4-20AC-491F-BD04-0A4850E84F9A}" type="sibTrans" cxnId="{57D520E7-283B-4D19-A877-3F5F29E02723}">
      <dgm:prSet/>
      <dgm:spPr/>
      <dgm:t>
        <a:bodyPr/>
        <a:lstStyle/>
        <a:p>
          <a:endParaRPr lang="en-US"/>
        </a:p>
      </dgm:t>
    </dgm:pt>
    <dgm:pt modelId="{A888F086-ED63-4570-A709-3DB17A714F98}">
      <dgm:prSet custT="1"/>
      <dgm:spPr/>
      <dgm:t>
        <a:bodyPr/>
        <a:lstStyle/>
        <a:p>
          <a:r>
            <a:rPr lang="en-US" sz="2000" baseline="0" dirty="0"/>
            <a:t>Queried using Kusto Query Language (KQL)</a:t>
          </a:r>
          <a:endParaRPr lang="en-US" sz="2000" dirty="0"/>
        </a:p>
      </dgm:t>
    </dgm:pt>
    <dgm:pt modelId="{F7E12FBB-933F-40E5-813A-4AE5CB1D9CB4}" type="parTrans" cxnId="{30125D74-0E31-403F-887C-A805033F2B46}">
      <dgm:prSet/>
      <dgm:spPr/>
      <dgm:t>
        <a:bodyPr/>
        <a:lstStyle/>
        <a:p>
          <a:endParaRPr lang="en-US"/>
        </a:p>
      </dgm:t>
    </dgm:pt>
    <dgm:pt modelId="{E959E644-B942-40C3-8B63-EA7F18DE3A24}" type="sibTrans" cxnId="{30125D74-0E31-403F-887C-A805033F2B46}">
      <dgm:prSet/>
      <dgm:spPr/>
      <dgm:t>
        <a:bodyPr/>
        <a:lstStyle/>
        <a:p>
          <a:endParaRPr lang="en-US"/>
        </a:p>
      </dgm:t>
    </dgm:pt>
    <dgm:pt modelId="{40BB254F-0764-4660-80D4-10BFADCB3F99}">
      <dgm:prSet/>
      <dgm:spPr/>
      <dgm:t>
        <a:bodyPr/>
        <a:lstStyle/>
        <a:p>
          <a:r>
            <a:rPr lang="en-US" baseline="0"/>
            <a:t>SQL-Like language</a:t>
          </a:r>
          <a:endParaRPr lang="en-US"/>
        </a:p>
      </dgm:t>
    </dgm:pt>
    <dgm:pt modelId="{1939ABE9-3ED2-4CE0-BD6A-3418FBC4DD09}" type="parTrans" cxnId="{18630559-06D7-4F84-990D-80EB4B44DFC9}">
      <dgm:prSet/>
      <dgm:spPr/>
      <dgm:t>
        <a:bodyPr/>
        <a:lstStyle/>
        <a:p>
          <a:endParaRPr lang="en-US"/>
        </a:p>
      </dgm:t>
    </dgm:pt>
    <dgm:pt modelId="{6C79451F-DC7D-47E1-8B38-1252B057D0A4}" type="sibTrans" cxnId="{18630559-06D7-4F84-990D-80EB4B44DFC9}">
      <dgm:prSet/>
      <dgm:spPr/>
      <dgm:t>
        <a:bodyPr/>
        <a:lstStyle/>
        <a:p>
          <a:endParaRPr lang="en-US"/>
        </a:p>
      </dgm:t>
    </dgm:pt>
    <dgm:pt modelId="{C3AF99ED-9CF3-47AE-B159-1C8A0FF85642}">
      <dgm:prSet custT="1"/>
      <dgm:spPr/>
      <dgm:t>
        <a:bodyPr/>
        <a:lstStyle/>
        <a:p>
          <a:r>
            <a:rPr lang="en-US" sz="2000" baseline="0"/>
            <a:t>Cost</a:t>
          </a:r>
          <a:endParaRPr lang="en-US" sz="2000"/>
        </a:p>
      </dgm:t>
    </dgm:pt>
    <dgm:pt modelId="{17BE86A5-2601-4032-9BB2-3DF106351A4F}" type="parTrans" cxnId="{3CE9E4CF-1F54-47C1-9902-ED4FC0B1C749}">
      <dgm:prSet/>
      <dgm:spPr/>
      <dgm:t>
        <a:bodyPr/>
        <a:lstStyle/>
        <a:p>
          <a:endParaRPr lang="en-US"/>
        </a:p>
      </dgm:t>
    </dgm:pt>
    <dgm:pt modelId="{AE00B771-18F0-4452-BEB8-DC39374C4668}" type="sibTrans" cxnId="{3CE9E4CF-1F54-47C1-9902-ED4FC0B1C749}">
      <dgm:prSet/>
      <dgm:spPr/>
      <dgm:t>
        <a:bodyPr/>
        <a:lstStyle/>
        <a:p>
          <a:endParaRPr lang="en-US"/>
        </a:p>
      </dgm:t>
    </dgm:pt>
    <dgm:pt modelId="{68236725-6001-4582-AFDC-10D417A83798}">
      <dgm:prSet/>
      <dgm:spPr/>
      <dgm:t>
        <a:bodyPr/>
        <a:lstStyle/>
        <a:p>
          <a:r>
            <a:rPr lang="en-US" baseline="0"/>
            <a:t>Pay-by-ingestion</a:t>
          </a:r>
          <a:endParaRPr lang="en-US"/>
        </a:p>
      </dgm:t>
    </dgm:pt>
    <dgm:pt modelId="{F1D40569-3C58-4F1F-898F-30C6FCC60BD6}" type="parTrans" cxnId="{86470EED-FB7E-43E9-85F0-4D7FBE673E29}">
      <dgm:prSet/>
      <dgm:spPr/>
      <dgm:t>
        <a:bodyPr/>
        <a:lstStyle/>
        <a:p>
          <a:endParaRPr lang="en-US"/>
        </a:p>
      </dgm:t>
    </dgm:pt>
    <dgm:pt modelId="{DA758E14-3803-495F-B6B8-8E6A7B1D2348}" type="sibTrans" cxnId="{86470EED-FB7E-43E9-85F0-4D7FBE673E29}">
      <dgm:prSet/>
      <dgm:spPr/>
      <dgm:t>
        <a:bodyPr/>
        <a:lstStyle/>
        <a:p>
          <a:endParaRPr lang="en-US"/>
        </a:p>
      </dgm:t>
    </dgm:pt>
    <dgm:pt modelId="{9780791A-7038-4370-B200-5551E83A7654}">
      <dgm:prSet/>
      <dgm:spPr/>
      <dgm:t>
        <a:bodyPr/>
        <a:lstStyle/>
        <a:p>
          <a:r>
            <a:rPr lang="en-US" baseline="0"/>
            <a:t>Minimize cost by only pulling over needed metrics</a:t>
          </a:r>
          <a:endParaRPr lang="en-US"/>
        </a:p>
      </dgm:t>
    </dgm:pt>
    <dgm:pt modelId="{F6032802-715D-429B-A643-897E60F50DB6}" type="parTrans" cxnId="{2E4C5246-9733-4EAA-8BAC-D400357EB177}">
      <dgm:prSet/>
      <dgm:spPr/>
      <dgm:t>
        <a:bodyPr/>
        <a:lstStyle/>
        <a:p>
          <a:endParaRPr lang="en-US"/>
        </a:p>
      </dgm:t>
    </dgm:pt>
    <dgm:pt modelId="{2D4600CC-DFBF-4723-A06D-E2E015D41846}" type="sibTrans" cxnId="{2E4C5246-9733-4EAA-8BAC-D400357EB177}">
      <dgm:prSet/>
      <dgm:spPr/>
      <dgm:t>
        <a:bodyPr/>
        <a:lstStyle/>
        <a:p>
          <a:endParaRPr lang="en-US"/>
        </a:p>
      </dgm:t>
    </dgm:pt>
    <dgm:pt modelId="{3F73BACA-528C-4462-BCAA-D54F6B924EFE}">
      <dgm:prSet custT="1"/>
      <dgm:spPr/>
      <dgm:t>
        <a:bodyPr/>
        <a:lstStyle/>
        <a:p>
          <a:r>
            <a:rPr lang="en-US" sz="2000" baseline="0"/>
            <a:t>Latency</a:t>
          </a:r>
          <a:endParaRPr lang="en-US" sz="2000"/>
        </a:p>
      </dgm:t>
    </dgm:pt>
    <dgm:pt modelId="{F0DFDAAE-9CC8-4D3F-BBCA-249315F2780C}" type="parTrans" cxnId="{EBE9AE15-69EE-4BCA-9C46-51B12C746264}">
      <dgm:prSet/>
      <dgm:spPr/>
      <dgm:t>
        <a:bodyPr/>
        <a:lstStyle/>
        <a:p>
          <a:endParaRPr lang="en-US"/>
        </a:p>
      </dgm:t>
    </dgm:pt>
    <dgm:pt modelId="{E6450657-6043-48BC-800C-A6F5BF06C326}" type="sibTrans" cxnId="{EBE9AE15-69EE-4BCA-9C46-51B12C746264}">
      <dgm:prSet/>
      <dgm:spPr/>
      <dgm:t>
        <a:bodyPr/>
        <a:lstStyle/>
        <a:p>
          <a:endParaRPr lang="en-US"/>
        </a:p>
      </dgm:t>
    </dgm:pt>
    <dgm:pt modelId="{EF5EB75E-CC99-4F0F-8939-F4C40DB114C4}">
      <dgm:prSet/>
      <dgm:spPr/>
      <dgm:t>
        <a:bodyPr/>
        <a:lstStyle/>
        <a:p>
          <a:r>
            <a:rPr lang="en-US" baseline="0"/>
            <a:t>10-15 minutes max latency</a:t>
          </a:r>
          <a:endParaRPr lang="en-US"/>
        </a:p>
      </dgm:t>
    </dgm:pt>
    <dgm:pt modelId="{1978DD8B-1112-4951-902D-75D6745FFF7B}" type="parTrans" cxnId="{BD2F640A-F39A-4BA1-B465-0A4026DA7809}">
      <dgm:prSet/>
      <dgm:spPr/>
      <dgm:t>
        <a:bodyPr/>
        <a:lstStyle/>
        <a:p>
          <a:endParaRPr lang="en-US"/>
        </a:p>
      </dgm:t>
    </dgm:pt>
    <dgm:pt modelId="{4F31EE14-134D-4D7A-B536-D0224AEADCB7}" type="sibTrans" cxnId="{BD2F640A-F39A-4BA1-B465-0A4026DA7809}">
      <dgm:prSet/>
      <dgm:spPr/>
      <dgm:t>
        <a:bodyPr/>
        <a:lstStyle/>
        <a:p>
          <a:endParaRPr lang="en-US"/>
        </a:p>
      </dgm:t>
    </dgm:pt>
    <dgm:pt modelId="{D9064E83-2780-43EF-9A06-425A06BC94C8}" type="pres">
      <dgm:prSet presAssocID="{1C22A0FF-D522-463C-ACB8-6FC88DA330BE}" presName="linear" presStyleCnt="0">
        <dgm:presLayoutVars>
          <dgm:dir/>
          <dgm:animLvl val="lvl"/>
          <dgm:resizeHandles val="exact"/>
        </dgm:presLayoutVars>
      </dgm:prSet>
      <dgm:spPr/>
    </dgm:pt>
    <dgm:pt modelId="{84E9D67B-9FC5-4BF1-9004-0449CC45B222}" type="pres">
      <dgm:prSet presAssocID="{930CD3AE-137A-43F4-83E4-57E78686D231}" presName="parentLin" presStyleCnt="0"/>
      <dgm:spPr/>
    </dgm:pt>
    <dgm:pt modelId="{1EC57E3D-6B85-49B1-898D-C98753FF8921}" type="pres">
      <dgm:prSet presAssocID="{930CD3AE-137A-43F4-83E4-57E78686D231}" presName="parentLeftMargin" presStyleLbl="node1" presStyleIdx="0" presStyleCnt="4"/>
      <dgm:spPr/>
    </dgm:pt>
    <dgm:pt modelId="{24652A6A-0D82-4255-83DD-407C1A5FE4B9}" type="pres">
      <dgm:prSet presAssocID="{930CD3AE-137A-43F4-83E4-57E78686D231}" presName="parentText" presStyleLbl="node1" presStyleIdx="0" presStyleCnt="4">
        <dgm:presLayoutVars>
          <dgm:chMax val="0"/>
          <dgm:bulletEnabled val="1"/>
        </dgm:presLayoutVars>
      </dgm:prSet>
      <dgm:spPr/>
    </dgm:pt>
    <dgm:pt modelId="{09E60960-D77F-4948-8F01-96321AB1DE8B}" type="pres">
      <dgm:prSet presAssocID="{930CD3AE-137A-43F4-83E4-57E78686D231}" presName="negativeSpace" presStyleCnt="0"/>
      <dgm:spPr/>
    </dgm:pt>
    <dgm:pt modelId="{A742891A-472D-4721-9991-0B11C540B3B7}" type="pres">
      <dgm:prSet presAssocID="{930CD3AE-137A-43F4-83E4-57E78686D231}" presName="childText" presStyleLbl="conFgAcc1" presStyleIdx="0" presStyleCnt="4">
        <dgm:presLayoutVars>
          <dgm:bulletEnabled val="1"/>
        </dgm:presLayoutVars>
      </dgm:prSet>
      <dgm:spPr/>
    </dgm:pt>
    <dgm:pt modelId="{4574D4C5-2E1A-4548-A009-00A918633E37}" type="pres">
      <dgm:prSet presAssocID="{00EA72C4-20AC-491F-BD04-0A4850E84F9A}" presName="spaceBetweenRectangles" presStyleCnt="0"/>
      <dgm:spPr/>
    </dgm:pt>
    <dgm:pt modelId="{2ED63FA9-5FAF-47B5-B8BA-872864D1A34E}" type="pres">
      <dgm:prSet presAssocID="{A888F086-ED63-4570-A709-3DB17A714F98}" presName="parentLin" presStyleCnt="0"/>
      <dgm:spPr/>
    </dgm:pt>
    <dgm:pt modelId="{06E999EF-E744-4685-BAA0-3121CD717A36}" type="pres">
      <dgm:prSet presAssocID="{A888F086-ED63-4570-A709-3DB17A714F98}" presName="parentLeftMargin" presStyleLbl="node1" presStyleIdx="0" presStyleCnt="4"/>
      <dgm:spPr/>
    </dgm:pt>
    <dgm:pt modelId="{0D78B05D-CFCC-44E8-BB24-CA4A39117823}" type="pres">
      <dgm:prSet presAssocID="{A888F086-ED63-4570-A709-3DB17A714F98}" presName="parentText" presStyleLbl="node1" presStyleIdx="1" presStyleCnt="4">
        <dgm:presLayoutVars>
          <dgm:chMax val="0"/>
          <dgm:bulletEnabled val="1"/>
        </dgm:presLayoutVars>
      </dgm:prSet>
      <dgm:spPr/>
    </dgm:pt>
    <dgm:pt modelId="{35D740C4-3FD0-4A96-82CC-1304A8B3A169}" type="pres">
      <dgm:prSet presAssocID="{A888F086-ED63-4570-A709-3DB17A714F98}" presName="negativeSpace" presStyleCnt="0"/>
      <dgm:spPr/>
    </dgm:pt>
    <dgm:pt modelId="{CB134718-C98F-4058-B691-9C36E36B0687}" type="pres">
      <dgm:prSet presAssocID="{A888F086-ED63-4570-A709-3DB17A714F98}" presName="childText" presStyleLbl="conFgAcc1" presStyleIdx="1" presStyleCnt="4">
        <dgm:presLayoutVars>
          <dgm:bulletEnabled val="1"/>
        </dgm:presLayoutVars>
      </dgm:prSet>
      <dgm:spPr/>
    </dgm:pt>
    <dgm:pt modelId="{0AF4F2FA-5DC2-4362-B51D-B92B2BFC72FE}" type="pres">
      <dgm:prSet presAssocID="{E959E644-B942-40C3-8B63-EA7F18DE3A24}" presName="spaceBetweenRectangles" presStyleCnt="0"/>
      <dgm:spPr/>
    </dgm:pt>
    <dgm:pt modelId="{EE62CBEF-8485-42DB-B659-28CC35513069}" type="pres">
      <dgm:prSet presAssocID="{C3AF99ED-9CF3-47AE-B159-1C8A0FF85642}" presName="parentLin" presStyleCnt="0"/>
      <dgm:spPr/>
    </dgm:pt>
    <dgm:pt modelId="{982EEB06-085E-4DC8-9796-535E64067DE2}" type="pres">
      <dgm:prSet presAssocID="{C3AF99ED-9CF3-47AE-B159-1C8A0FF85642}" presName="parentLeftMargin" presStyleLbl="node1" presStyleIdx="1" presStyleCnt="4"/>
      <dgm:spPr/>
    </dgm:pt>
    <dgm:pt modelId="{97B8B39D-A40B-4723-A32E-FBEC3624AF1E}" type="pres">
      <dgm:prSet presAssocID="{C3AF99ED-9CF3-47AE-B159-1C8A0FF85642}" presName="parentText" presStyleLbl="node1" presStyleIdx="2" presStyleCnt="4">
        <dgm:presLayoutVars>
          <dgm:chMax val="0"/>
          <dgm:bulletEnabled val="1"/>
        </dgm:presLayoutVars>
      </dgm:prSet>
      <dgm:spPr/>
    </dgm:pt>
    <dgm:pt modelId="{5391A921-FE55-44D2-868A-6F7FB9CFE56B}" type="pres">
      <dgm:prSet presAssocID="{C3AF99ED-9CF3-47AE-B159-1C8A0FF85642}" presName="negativeSpace" presStyleCnt="0"/>
      <dgm:spPr/>
    </dgm:pt>
    <dgm:pt modelId="{70CB5B88-B176-4B68-8EA3-2590F48FCC40}" type="pres">
      <dgm:prSet presAssocID="{C3AF99ED-9CF3-47AE-B159-1C8A0FF85642}" presName="childText" presStyleLbl="conFgAcc1" presStyleIdx="2" presStyleCnt="4">
        <dgm:presLayoutVars>
          <dgm:bulletEnabled val="1"/>
        </dgm:presLayoutVars>
      </dgm:prSet>
      <dgm:spPr/>
    </dgm:pt>
    <dgm:pt modelId="{CABD8F43-406F-499A-AE64-2E5C8E5EFC3E}" type="pres">
      <dgm:prSet presAssocID="{AE00B771-18F0-4452-BEB8-DC39374C4668}" presName="spaceBetweenRectangles" presStyleCnt="0"/>
      <dgm:spPr/>
    </dgm:pt>
    <dgm:pt modelId="{9949135F-E3D7-4D6D-B166-61459E3A4CC0}" type="pres">
      <dgm:prSet presAssocID="{3F73BACA-528C-4462-BCAA-D54F6B924EFE}" presName="parentLin" presStyleCnt="0"/>
      <dgm:spPr/>
    </dgm:pt>
    <dgm:pt modelId="{36384ECF-9D8F-43AB-A218-3A60C8C7643A}" type="pres">
      <dgm:prSet presAssocID="{3F73BACA-528C-4462-BCAA-D54F6B924EFE}" presName="parentLeftMargin" presStyleLbl="node1" presStyleIdx="2" presStyleCnt="4"/>
      <dgm:spPr/>
    </dgm:pt>
    <dgm:pt modelId="{35F630BF-532D-4D1F-8C85-10A208E50F6B}" type="pres">
      <dgm:prSet presAssocID="{3F73BACA-528C-4462-BCAA-D54F6B924EFE}" presName="parentText" presStyleLbl="node1" presStyleIdx="3" presStyleCnt="4">
        <dgm:presLayoutVars>
          <dgm:chMax val="0"/>
          <dgm:bulletEnabled val="1"/>
        </dgm:presLayoutVars>
      </dgm:prSet>
      <dgm:spPr/>
    </dgm:pt>
    <dgm:pt modelId="{70576234-4329-4826-A8E2-746E50A634C6}" type="pres">
      <dgm:prSet presAssocID="{3F73BACA-528C-4462-BCAA-D54F6B924EFE}" presName="negativeSpace" presStyleCnt="0"/>
      <dgm:spPr/>
    </dgm:pt>
    <dgm:pt modelId="{0D59AE30-8E8D-41FA-AE15-362573A12D21}" type="pres">
      <dgm:prSet presAssocID="{3F73BACA-528C-4462-BCAA-D54F6B924EFE}" presName="childText" presStyleLbl="conFgAcc1" presStyleIdx="3" presStyleCnt="4">
        <dgm:presLayoutVars>
          <dgm:bulletEnabled val="1"/>
        </dgm:presLayoutVars>
      </dgm:prSet>
      <dgm:spPr/>
    </dgm:pt>
  </dgm:ptLst>
  <dgm:cxnLst>
    <dgm:cxn modelId="{AE275E02-4E7C-4EE2-91E4-F1632EDA819A}" type="presOf" srcId="{C3AF99ED-9CF3-47AE-B159-1C8A0FF85642}" destId="{97B8B39D-A40B-4723-A32E-FBEC3624AF1E}" srcOrd="1" destOrd="0" presId="urn:microsoft.com/office/officeart/2005/8/layout/list1"/>
    <dgm:cxn modelId="{BD2F640A-F39A-4BA1-B465-0A4026DA7809}" srcId="{3F73BACA-528C-4462-BCAA-D54F6B924EFE}" destId="{EF5EB75E-CC99-4F0F-8939-F4C40DB114C4}" srcOrd="0" destOrd="0" parTransId="{1978DD8B-1112-4951-902D-75D6745FFF7B}" sibTransId="{4F31EE14-134D-4D7A-B536-D0224AEADCB7}"/>
    <dgm:cxn modelId="{EBE9AE15-69EE-4BCA-9C46-51B12C746264}" srcId="{1C22A0FF-D522-463C-ACB8-6FC88DA330BE}" destId="{3F73BACA-528C-4462-BCAA-D54F6B924EFE}" srcOrd="3" destOrd="0" parTransId="{F0DFDAAE-9CC8-4D3F-BBCA-249315F2780C}" sibTransId="{E6450657-6043-48BC-800C-A6F5BF06C326}"/>
    <dgm:cxn modelId="{62DD171F-EDB4-4133-AFAE-9DAD00BC8FA3}" type="presOf" srcId="{930CD3AE-137A-43F4-83E4-57E78686D231}" destId="{24652A6A-0D82-4255-83DD-407C1A5FE4B9}" srcOrd="1" destOrd="0" presId="urn:microsoft.com/office/officeart/2005/8/layout/list1"/>
    <dgm:cxn modelId="{3BE22631-E967-479E-8258-89A0E837C78F}" type="presOf" srcId="{EF5EB75E-CC99-4F0F-8939-F4C40DB114C4}" destId="{0D59AE30-8E8D-41FA-AE15-362573A12D21}" srcOrd="0" destOrd="0" presId="urn:microsoft.com/office/officeart/2005/8/layout/list1"/>
    <dgm:cxn modelId="{2E4C5246-9733-4EAA-8BAC-D400357EB177}" srcId="{C3AF99ED-9CF3-47AE-B159-1C8A0FF85642}" destId="{9780791A-7038-4370-B200-5551E83A7654}" srcOrd="1" destOrd="0" parTransId="{F6032802-715D-429B-A643-897E60F50DB6}" sibTransId="{2D4600CC-DFBF-4723-A06D-E2E015D41846}"/>
    <dgm:cxn modelId="{1777354A-2683-4BD7-AB7E-54115B24D085}" type="presOf" srcId="{930CD3AE-137A-43F4-83E4-57E78686D231}" destId="{1EC57E3D-6B85-49B1-898D-C98753FF8921}" srcOrd="0" destOrd="0" presId="urn:microsoft.com/office/officeart/2005/8/layout/list1"/>
    <dgm:cxn modelId="{10F3DF6D-49E5-4C66-9A5A-BE70920645E4}" type="presOf" srcId="{40BB254F-0764-4660-80D4-10BFADCB3F99}" destId="{CB134718-C98F-4058-B691-9C36E36B0687}" srcOrd="0" destOrd="0" presId="urn:microsoft.com/office/officeart/2005/8/layout/list1"/>
    <dgm:cxn modelId="{30125D74-0E31-403F-887C-A805033F2B46}" srcId="{1C22A0FF-D522-463C-ACB8-6FC88DA330BE}" destId="{A888F086-ED63-4570-A709-3DB17A714F98}" srcOrd="1" destOrd="0" parTransId="{F7E12FBB-933F-40E5-813A-4AE5CB1D9CB4}" sibTransId="{E959E644-B942-40C3-8B63-EA7F18DE3A24}"/>
    <dgm:cxn modelId="{18630559-06D7-4F84-990D-80EB4B44DFC9}" srcId="{A888F086-ED63-4570-A709-3DB17A714F98}" destId="{40BB254F-0764-4660-80D4-10BFADCB3F99}" srcOrd="0" destOrd="0" parTransId="{1939ABE9-3ED2-4CE0-BD6A-3418FBC4DD09}" sibTransId="{6C79451F-DC7D-47E1-8B38-1252B057D0A4}"/>
    <dgm:cxn modelId="{981A887D-5FA9-496F-99A3-879D2B34D48B}" type="presOf" srcId="{3F73BACA-528C-4462-BCAA-D54F6B924EFE}" destId="{36384ECF-9D8F-43AB-A218-3A60C8C7643A}" srcOrd="0" destOrd="0" presId="urn:microsoft.com/office/officeart/2005/8/layout/list1"/>
    <dgm:cxn modelId="{7439E87D-EA73-44B8-8763-79FCF2CBC2FC}" type="presOf" srcId="{C3AF99ED-9CF3-47AE-B159-1C8A0FF85642}" destId="{982EEB06-085E-4DC8-9796-535E64067DE2}" srcOrd="0" destOrd="0" presId="urn:microsoft.com/office/officeart/2005/8/layout/list1"/>
    <dgm:cxn modelId="{B49D42A2-9EC3-49DB-955E-3DD5827036E0}" type="presOf" srcId="{9780791A-7038-4370-B200-5551E83A7654}" destId="{70CB5B88-B176-4B68-8EA3-2590F48FCC40}" srcOrd="0" destOrd="1" presId="urn:microsoft.com/office/officeart/2005/8/layout/list1"/>
    <dgm:cxn modelId="{1C3E4BA4-A694-41D0-8D2B-99C86768C4BA}" type="presOf" srcId="{1C22A0FF-D522-463C-ACB8-6FC88DA330BE}" destId="{D9064E83-2780-43EF-9A06-425A06BC94C8}" srcOrd="0" destOrd="0" presId="urn:microsoft.com/office/officeart/2005/8/layout/list1"/>
    <dgm:cxn modelId="{6143E9CD-2A6A-404A-8297-2B4A0FEBCAE3}" type="presOf" srcId="{3F73BACA-528C-4462-BCAA-D54F6B924EFE}" destId="{35F630BF-532D-4D1F-8C85-10A208E50F6B}" srcOrd="1" destOrd="0" presId="urn:microsoft.com/office/officeart/2005/8/layout/list1"/>
    <dgm:cxn modelId="{470BADCF-81FA-4A8E-8B6F-49887BAF3DF4}" type="presOf" srcId="{A888F086-ED63-4570-A709-3DB17A714F98}" destId="{0D78B05D-CFCC-44E8-BB24-CA4A39117823}" srcOrd="1" destOrd="0" presId="urn:microsoft.com/office/officeart/2005/8/layout/list1"/>
    <dgm:cxn modelId="{3CE9E4CF-1F54-47C1-9902-ED4FC0B1C749}" srcId="{1C22A0FF-D522-463C-ACB8-6FC88DA330BE}" destId="{C3AF99ED-9CF3-47AE-B159-1C8A0FF85642}" srcOrd="2" destOrd="0" parTransId="{17BE86A5-2601-4032-9BB2-3DF106351A4F}" sibTransId="{AE00B771-18F0-4452-BEB8-DC39374C4668}"/>
    <dgm:cxn modelId="{F90EC4D7-B587-4D8D-843A-BFE723FA17D4}" type="presOf" srcId="{A888F086-ED63-4570-A709-3DB17A714F98}" destId="{06E999EF-E744-4685-BAA0-3121CD717A36}" srcOrd="0" destOrd="0" presId="urn:microsoft.com/office/officeart/2005/8/layout/list1"/>
    <dgm:cxn modelId="{57D520E7-283B-4D19-A877-3F5F29E02723}" srcId="{1C22A0FF-D522-463C-ACB8-6FC88DA330BE}" destId="{930CD3AE-137A-43F4-83E4-57E78686D231}" srcOrd="0" destOrd="0" parTransId="{1CE8F09A-F193-4813-8892-221EE93CE322}" sibTransId="{00EA72C4-20AC-491F-BD04-0A4850E84F9A}"/>
    <dgm:cxn modelId="{86470EED-FB7E-43E9-85F0-4D7FBE673E29}" srcId="{C3AF99ED-9CF3-47AE-B159-1C8A0FF85642}" destId="{68236725-6001-4582-AFDC-10D417A83798}" srcOrd="0" destOrd="0" parTransId="{F1D40569-3C58-4F1F-898F-30C6FCC60BD6}" sibTransId="{DA758E14-3803-495F-B6B8-8E6A7B1D2348}"/>
    <dgm:cxn modelId="{1C57A0F0-A23B-44BB-9203-07540E445CE0}" type="presOf" srcId="{68236725-6001-4582-AFDC-10D417A83798}" destId="{70CB5B88-B176-4B68-8EA3-2590F48FCC40}" srcOrd="0" destOrd="0" presId="urn:microsoft.com/office/officeart/2005/8/layout/list1"/>
    <dgm:cxn modelId="{DA618BF7-BD0F-41F0-B7BC-3D31B0AC3CAA}" type="presParOf" srcId="{D9064E83-2780-43EF-9A06-425A06BC94C8}" destId="{84E9D67B-9FC5-4BF1-9004-0449CC45B222}" srcOrd="0" destOrd="0" presId="urn:microsoft.com/office/officeart/2005/8/layout/list1"/>
    <dgm:cxn modelId="{5B03EB4F-0816-4945-9C6D-2F418D1930B7}" type="presParOf" srcId="{84E9D67B-9FC5-4BF1-9004-0449CC45B222}" destId="{1EC57E3D-6B85-49B1-898D-C98753FF8921}" srcOrd="0" destOrd="0" presId="urn:microsoft.com/office/officeart/2005/8/layout/list1"/>
    <dgm:cxn modelId="{55D82B4D-D145-4B82-8008-F685DDC6647C}" type="presParOf" srcId="{84E9D67B-9FC5-4BF1-9004-0449CC45B222}" destId="{24652A6A-0D82-4255-83DD-407C1A5FE4B9}" srcOrd="1" destOrd="0" presId="urn:microsoft.com/office/officeart/2005/8/layout/list1"/>
    <dgm:cxn modelId="{33CE0B19-EDD3-4959-923D-78F4C5DA8578}" type="presParOf" srcId="{D9064E83-2780-43EF-9A06-425A06BC94C8}" destId="{09E60960-D77F-4948-8F01-96321AB1DE8B}" srcOrd="1" destOrd="0" presId="urn:microsoft.com/office/officeart/2005/8/layout/list1"/>
    <dgm:cxn modelId="{C292ADAF-0723-4126-BFF5-72D94C446810}" type="presParOf" srcId="{D9064E83-2780-43EF-9A06-425A06BC94C8}" destId="{A742891A-472D-4721-9991-0B11C540B3B7}" srcOrd="2" destOrd="0" presId="urn:microsoft.com/office/officeart/2005/8/layout/list1"/>
    <dgm:cxn modelId="{E574CBE6-D0EC-43D6-BBFD-4D2809770F3D}" type="presParOf" srcId="{D9064E83-2780-43EF-9A06-425A06BC94C8}" destId="{4574D4C5-2E1A-4548-A009-00A918633E37}" srcOrd="3" destOrd="0" presId="urn:microsoft.com/office/officeart/2005/8/layout/list1"/>
    <dgm:cxn modelId="{4435F2D5-52FC-4252-AC07-E7962035BC3C}" type="presParOf" srcId="{D9064E83-2780-43EF-9A06-425A06BC94C8}" destId="{2ED63FA9-5FAF-47B5-B8BA-872864D1A34E}" srcOrd="4" destOrd="0" presId="urn:microsoft.com/office/officeart/2005/8/layout/list1"/>
    <dgm:cxn modelId="{2959CE0E-7543-49E5-9E05-4E52DF00D251}" type="presParOf" srcId="{2ED63FA9-5FAF-47B5-B8BA-872864D1A34E}" destId="{06E999EF-E744-4685-BAA0-3121CD717A36}" srcOrd="0" destOrd="0" presId="urn:microsoft.com/office/officeart/2005/8/layout/list1"/>
    <dgm:cxn modelId="{A8C54C0B-1509-46CC-92C4-8AC84D843501}" type="presParOf" srcId="{2ED63FA9-5FAF-47B5-B8BA-872864D1A34E}" destId="{0D78B05D-CFCC-44E8-BB24-CA4A39117823}" srcOrd="1" destOrd="0" presId="urn:microsoft.com/office/officeart/2005/8/layout/list1"/>
    <dgm:cxn modelId="{79D92D10-8D18-4029-B219-611868DD0D0B}" type="presParOf" srcId="{D9064E83-2780-43EF-9A06-425A06BC94C8}" destId="{35D740C4-3FD0-4A96-82CC-1304A8B3A169}" srcOrd="5" destOrd="0" presId="urn:microsoft.com/office/officeart/2005/8/layout/list1"/>
    <dgm:cxn modelId="{FA72DAFD-2DE3-4BFF-AD5D-4338F1A7E85F}" type="presParOf" srcId="{D9064E83-2780-43EF-9A06-425A06BC94C8}" destId="{CB134718-C98F-4058-B691-9C36E36B0687}" srcOrd="6" destOrd="0" presId="urn:microsoft.com/office/officeart/2005/8/layout/list1"/>
    <dgm:cxn modelId="{485D3C70-F875-47C8-8472-0E9B49CAE126}" type="presParOf" srcId="{D9064E83-2780-43EF-9A06-425A06BC94C8}" destId="{0AF4F2FA-5DC2-4362-B51D-B92B2BFC72FE}" srcOrd="7" destOrd="0" presId="urn:microsoft.com/office/officeart/2005/8/layout/list1"/>
    <dgm:cxn modelId="{284DB19D-398E-40BA-8D4D-38A21C4FC65B}" type="presParOf" srcId="{D9064E83-2780-43EF-9A06-425A06BC94C8}" destId="{EE62CBEF-8485-42DB-B659-28CC35513069}" srcOrd="8" destOrd="0" presId="urn:microsoft.com/office/officeart/2005/8/layout/list1"/>
    <dgm:cxn modelId="{C34B1123-EBA0-4178-8323-31C030678618}" type="presParOf" srcId="{EE62CBEF-8485-42DB-B659-28CC35513069}" destId="{982EEB06-085E-4DC8-9796-535E64067DE2}" srcOrd="0" destOrd="0" presId="urn:microsoft.com/office/officeart/2005/8/layout/list1"/>
    <dgm:cxn modelId="{F5CA6BBC-7803-4240-B905-ED8A1B0B2340}" type="presParOf" srcId="{EE62CBEF-8485-42DB-B659-28CC35513069}" destId="{97B8B39D-A40B-4723-A32E-FBEC3624AF1E}" srcOrd="1" destOrd="0" presId="urn:microsoft.com/office/officeart/2005/8/layout/list1"/>
    <dgm:cxn modelId="{0DAA8333-E8BC-495E-9337-9FB30AAF92B7}" type="presParOf" srcId="{D9064E83-2780-43EF-9A06-425A06BC94C8}" destId="{5391A921-FE55-44D2-868A-6F7FB9CFE56B}" srcOrd="9" destOrd="0" presId="urn:microsoft.com/office/officeart/2005/8/layout/list1"/>
    <dgm:cxn modelId="{C6F9C923-8ACB-42E8-B1BE-181220033DBF}" type="presParOf" srcId="{D9064E83-2780-43EF-9A06-425A06BC94C8}" destId="{70CB5B88-B176-4B68-8EA3-2590F48FCC40}" srcOrd="10" destOrd="0" presId="urn:microsoft.com/office/officeart/2005/8/layout/list1"/>
    <dgm:cxn modelId="{9EFA56A2-20F9-4C38-80FB-AA55E90775F5}" type="presParOf" srcId="{D9064E83-2780-43EF-9A06-425A06BC94C8}" destId="{CABD8F43-406F-499A-AE64-2E5C8E5EFC3E}" srcOrd="11" destOrd="0" presId="urn:microsoft.com/office/officeart/2005/8/layout/list1"/>
    <dgm:cxn modelId="{6A4424C7-4253-4EDB-B61F-8532D1793A4E}" type="presParOf" srcId="{D9064E83-2780-43EF-9A06-425A06BC94C8}" destId="{9949135F-E3D7-4D6D-B166-61459E3A4CC0}" srcOrd="12" destOrd="0" presId="urn:microsoft.com/office/officeart/2005/8/layout/list1"/>
    <dgm:cxn modelId="{0B49A868-DFC3-42D6-A073-D133768F07B0}" type="presParOf" srcId="{9949135F-E3D7-4D6D-B166-61459E3A4CC0}" destId="{36384ECF-9D8F-43AB-A218-3A60C8C7643A}" srcOrd="0" destOrd="0" presId="urn:microsoft.com/office/officeart/2005/8/layout/list1"/>
    <dgm:cxn modelId="{0689A171-3EAE-4749-B5AB-7CCA9D046AA5}" type="presParOf" srcId="{9949135F-E3D7-4D6D-B166-61459E3A4CC0}" destId="{35F630BF-532D-4D1F-8C85-10A208E50F6B}" srcOrd="1" destOrd="0" presId="urn:microsoft.com/office/officeart/2005/8/layout/list1"/>
    <dgm:cxn modelId="{CB7E7E27-EF98-4EB9-9612-41D864F872A5}" type="presParOf" srcId="{D9064E83-2780-43EF-9A06-425A06BC94C8}" destId="{70576234-4329-4826-A8E2-746E50A634C6}" srcOrd="13" destOrd="0" presId="urn:microsoft.com/office/officeart/2005/8/layout/list1"/>
    <dgm:cxn modelId="{266BE368-B239-4AB5-B38C-EACD275086BA}" type="presParOf" srcId="{D9064E83-2780-43EF-9A06-425A06BC94C8}" destId="{0D59AE30-8E8D-41FA-AE15-362573A12D21}"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9E64013-8D98-4179-B0D2-B24E4A363CEB}" type="doc">
      <dgm:prSet loTypeId="urn:microsoft.com/office/officeart/2008/layout/VerticalCurvedList" loCatId="list" qsTypeId="urn:microsoft.com/office/officeart/2005/8/quickstyle/simple1" qsCatId="simple" csTypeId="urn:microsoft.com/office/officeart/2005/8/colors/accent0_3" csCatId="mainScheme"/>
      <dgm:spPr/>
      <dgm:t>
        <a:bodyPr/>
        <a:lstStyle/>
        <a:p>
          <a:endParaRPr lang="en-US"/>
        </a:p>
      </dgm:t>
    </dgm:pt>
    <dgm:pt modelId="{26B8CA1D-D226-4EAD-B663-906A3693F324}">
      <dgm:prSet custT="1"/>
      <dgm:spPr/>
      <dgm:t>
        <a:bodyPr/>
        <a:lstStyle/>
        <a:p>
          <a:r>
            <a:rPr lang="en-US" sz="2400" baseline="0" dirty="0"/>
            <a:t>Create a Log Analytics Workspace</a:t>
          </a:r>
          <a:endParaRPr lang="en-US" sz="2400" dirty="0"/>
        </a:p>
      </dgm:t>
    </dgm:pt>
    <dgm:pt modelId="{0B492669-9234-46D7-A51A-BE4A87D99F26}" type="parTrans" cxnId="{8C8A9B9A-E4C4-4AFB-933C-E36E52EDEF7C}">
      <dgm:prSet/>
      <dgm:spPr/>
      <dgm:t>
        <a:bodyPr/>
        <a:lstStyle/>
        <a:p>
          <a:endParaRPr lang="en-US" sz="2400"/>
        </a:p>
      </dgm:t>
    </dgm:pt>
    <dgm:pt modelId="{BF5CCDE9-B948-4D3B-80AA-2A0A72ECB71F}" type="sibTrans" cxnId="{8C8A9B9A-E4C4-4AFB-933C-E36E52EDEF7C}">
      <dgm:prSet/>
      <dgm:spPr/>
      <dgm:t>
        <a:bodyPr/>
        <a:lstStyle/>
        <a:p>
          <a:endParaRPr lang="en-US" sz="2400"/>
        </a:p>
      </dgm:t>
    </dgm:pt>
    <dgm:pt modelId="{9080C516-2B7B-4616-A44F-D901744AE134}">
      <dgm:prSet custT="1"/>
      <dgm:spPr/>
      <dgm:t>
        <a:bodyPr/>
        <a:lstStyle/>
        <a:p>
          <a:r>
            <a:rPr lang="en-US" sz="2400" baseline="0"/>
            <a:t>Add new ‘Diagnostic setting’ to send logs to your workspace</a:t>
          </a:r>
          <a:endParaRPr lang="en-US" sz="2400"/>
        </a:p>
      </dgm:t>
    </dgm:pt>
    <dgm:pt modelId="{FBAF5CA3-9064-4DD2-8A0E-9D0F79C80119}" type="parTrans" cxnId="{86B85690-0B2E-4336-A72B-858E938C2281}">
      <dgm:prSet/>
      <dgm:spPr/>
      <dgm:t>
        <a:bodyPr/>
        <a:lstStyle/>
        <a:p>
          <a:endParaRPr lang="en-US" sz="2400"/>
        </a:p>
      </dgm:t>
    </dgm:pt>
    <dgm:pt modelId="{03E477D9-4FAD-4457-A962-D684DD106618}" type="sibTrans" cxnId="{86B85690-0B2E-4336-A72B-858E938C2281}">
      <dgm:prSet/>
      <dgm:spPr/>
      <dgm:t>
        <a:bodyPr/>
        <a:lstStyle/>
        <a:p>
          <a:endParaRPr lang="en-US" sz="2400"/>
        </a:p>
      </dgm:t>
    </dgm:pt>
    <dgm:pt modelId="{BBFF577A-4770-4F61-AD2F-8859821CF874}">
      <dgm:prSet custT="1"/>
      <dgm:spPr/>
      <dgm:t>
        <a:bodyPr/>
        <a:lstStyle/>
        <a:p>
          <a:r>
            <a:rPr lang="en-US" sz="2400" baseline="0"/>
            <a:t>Select which metrics you want to monitor</a:t>
          </a:r>
          <a:endParaRPr lang="en-US" sz="2400"/>
        </a:p>
      </dgm:t>
    </dgm:pt>
    <dgm:pt modelId="{52E8D169-E378-4BA4-B4E6-7D14DED5D743}" type="parTrans" cxnId="{23ECCE89-82DD-4A35-8CE9-395278414756}">
      <dgm:prSet/>
      <dgm:spPr/>
      <dgm:t>
        <a:bodyPr/>
        <a:lstStyle/>
        <a:p>
          <a:endParaRPr lang="en-US" sz="2400"/>
        </a:p>
      </dgm:t>
    </dgm:pt>
    <dgm:pt modelId="{814C5785-CCCF-4A94-AA44-BBC03AFC98F9}" type="sibTrans" cxnId="{23ECCE89-82DD-4A35-8CE9-395278414756}">
      <dgm:prSet/>
      <dgm:spPr/>
      <dgm:t>
        <a:bodyPr/>
        <a:lstStyle/>
        <a:p>
          <a:endParaRPr lang="en-US" sz="2400"/>
        </a:p>
      </dgm:t>
    </dgm:pt>
    <dgm:pt modelId="{E3001B4C-0496-44FA-9420-36834714A353}" type="pres">
      <dgm:prSet presAssocID="{69E64013-8D98-4179-B0D2-B24E4A363CEB}" presName="Name0" presStyleCnt="0">
        <dgm:presLayoutVars>
          <dgm:chMax val="7"/>
          <dgm:chPref val="7"/>
          <dgm:dir/>
        </dgm:presLayoutVars>
      </dgm:prSet>
      <dgm:spPr/>
    </dgm:pt>
    <dgm:pt modelId="{B076AE4B-8E53-480E-9F20-6002BFA2D763}" type="pres">
      <dgm:prSet presAssocID="{69E64013-8D98-4179-B0D2-B24E4A363CEB}" presName="Name1" presStyleCnt="0"/>
      <dgm:spPr/>
    </dgm:pt>
    <dgm:pt modelId="{7056D087-47F4-4F33-827B-8CD642756390}" type="pres">
      <dgm:prSet presAssocID="{69E64013-8D98-4179-B0D2-B24E4A363CEB}" presName="cycle" presStyleCnt="0"/>
      <dgm:spPr/>
    </dgm:pt>
    <dgm:pt modelId="{37C11588-0D0E-4BBC-891F-3163BA5DD3BC}" type="pres">
      <dgm:prSet presAssocID="{69E64013-8D98-4179-B0D2-B24E4A363CEB}" presName="srcNode" presStyleLbl="node1" presStyleIdx="0" presStyleCnt="3"/>
      <dgm:spPr/>
    </dgm:pt>
    <dgm:pt modelId="{DE72722B-4DEB-4DBF-8526-74394DC14106}" type="pres">
      <dgm:prSet presAssocID="{69E64013-8D98-4179-B0D2-B24E4A363CEB}" presName="conn" presStyleLbl="parChTrans1D2" presStyleIdx="0" presStyleCnt="1"/>
      <dgm:spPr/>
    </dgm:pt>
    <dgm:pt modelId="{863379C3-2551-4394-8660-8BF957F6A061}" type="pres">
      <dgm:prSet presAssocID="{69E64013-8D98-4179-B0D2-B24E4A363CEB}" presName="extraNode" presStyleLbl="node1" presStyleIdx="0" presStyleCnt="3"/>
      <dgm:spPr/>
    </dgm:pt>
    <dgm:pt modelId="{108C34C0-7F3A-42FD-AABB-D4D344B70492}" type="pres">
      <dgm:prSet presAssocID="{69E64013-8D98-4179-B0D2-B24E4A363CEB}" presName="dstNode" presStyleLbl="node1" presStyleIdx="0" presStyleCnt="3"/>
      <dgm:spPr/>
    </dgm:pt>
    <dgm:pt modelId="{BA4C7D86-BB65-4C76-AB7A-5087640588C2}" type="pres">
      <dgm:prSet presAssocID="{26B8CA1D-D226-4EAD-B663-906A3693F324}" presName="text_1" presStyleLbl="node1" presStyleIdx="0" presStyleCnt="3">
        <dgm:presLayoutVars>
          <dgm:bulletEnabled val="1"/>
        </dgm:presLayoutVars>
      </dgm:prSet>
      <dgm:spPr/>
    </dgm:pt>
    <dgm:pt modelId="{75E95D05-67FA-4DA6-913B-292EC8AF15E4}" type="pres">
      <dgm:prSet presAssocID="{26B8CA1D-D226-4EAD-B663-906A3693F324}" presName="accent_1" presStyleCnt="0"/>
      <dgm:spPr/>
    </dgm:pt>
    <dgm:pt modelId="{93A6A008-99D3-4956-BD8E-2C62F7695750}" type="pres">
      <dgm:prSet presAssocID="{26B8CA1D-D226-4EAD-B663-906A3693F324}" presName="accentRepeatNode" presStyleLbl="solidFgAcc1" presStyleIdx="0" presStyleCnt="3"/>
      <dgm:spPr/>
    </dgm:pt>
    <dgm:pt modelId="{E43D6098-374A-4066-8740-EC6A9EDEB5D3}" type="pres">
      <dgm:prSet presAssocID="{9080C516-2B7B-4616-A44F-D901744AE134}" presName="text_2" presStyleLbl="node1" presStyleIdx="1" presStyleCnt="3">
        <dgm:presLayoutVars>
          <dgm:bulletEnabled val="1"/>
        </dgm:presLayoutVars>
      </dgm:prSet>
      <dgm:spPr/>
    </dgm:pt>
    <dgm:pt modelId="{F73B7E96-2C35-4E41-B4DD-52ACF34C0F7E}" type="pres">
      <dgm:prSet presAssocID="{9080C516-2B7B-4616-A44F-D901744AE134}" presName="accent_2" presStyleCnt="0"/>
      <dgm:spPr/>
    </dgm:pt>
    <dgm:pt modelId="{70B8BF4A-EB4F-401D-B82F-E487FFF8BA8F}" type="pres">
      <dgm:prSet presAssocID="{9080C516-2B7B-4616-A44F-D901744AE134}" presName="accentRepeatNode" presStyleLbl="solidFgAcc1" presStyleIdx="1" presStyleCnt="3"/>
      <dgm:spPr/>
    </dgm:pt>
    <dgm:pt modelId="{D9C5B57F-9565-4A7F-ADDD-1977A079988B}" type="pres">
      <dgm:prSet presAssocID="{BBFF577A-4770-4F61-AD2F-8859821CF874}" presName="text_3" presStyleLbl="node1" presStyleIdx="2" presStyleCnt="3">
        <dgm:presLayoutVars>
          <dgm:bulletEnabled val="1"/>
        </dgm:presLayoutVars>
      </dgm:prSet>
      <dgm:spPr/>
    </dgm:pt>
    <dgm:pt modelId="{25ACAD69-29BD-437D-AACB-41E8F8C91CA5}" type="pres">
      <dgm:prSet presAssocID="{BBFF577A-4770-4F61-AD2F-8859821CF874}" presName="accent_3" presStyleCnt="0"/>
      <dgm:spPr/>
    </dgm:pt>
    <dgm:pt modelId="{CED45248-1BC7-4485-B9B8-862077963B30}" type="pres">
      <dgm:prSet presAssocID="{BBFF577A-4770-4F61-AD2F-8859821CF874}" presName="accentRepeatNode" presStyleLbl="solidFgAcc1" presStyleIdx="2" presStyleCnt="3"/>
      <dgm:spPr/>
    </dgm:pt>
  </dgm:ptLst>
  <dgm:cxnLst>
    <dgm:cxn modelId="{66028072-C4EA-440A-9DFA-C90842B97EFB}" type="presOf" srcId="{9080C516-2B7B-4616-A44F-D901744AE134}" destId="{E43D6098-374A-4066-8740-EC6A9EDEB5D3}" srcOrd="0" destOrd="0" presId="urn:microsoft.com/office/officeart/2008/layout/VerticalCurvedList"/>
    <dgm:cxn modelId="{B2E53253-E060-4B20-AA8F-0F70F17AB002}" type="presOf" srcId="{69E64013-8D98-4179-B0D2-B24E4A363CEB}" destId="{E3001B4C-0496-44FA-9420-36834714A353}" srcOrd="0" destOrd="0" presId="urn:microsoft.com/office/officeart/2008/layout/VerticalCurvedList"/>
    <dgm:cxn modelId="{1BE5B17B-9260-4DA5-8704-48BD98BB34AF}" type="presOf" srcId="{BF5CCDE9-B948-4D3B-80AA-2A0A72ECB71F}" destId="{DE72722B-4DEB-4DBF-8526-74394DC14106}" srcOrd="0" destOrd="0" presId="urn:microsoft.com/office/officeart/2008/layout/VerticalCurvedList"/>
    <dgm:cxn modelId="{23ECCE89-82DD-4A35-8CE9-395278414756}" srcId="{69E64013-8D98-4179-B0D2-B24E4A363CEB}" destId="{BBFF577A-4770-4F61-AD2F-8859821CF874}" srcOrd="2" destOrd="0" parTransId="{52E8D169-E378-4BA4-B4E6-7D14DED5D743}" sibTransId="{814C5785-CCCF-4A94-AA44-BBC03AFC98F9}"/>
    <dgm:cxn modelId="{86B85690-0B2E-4336-A72B-858E938C2281}" srcId="{69E64013-8D98-4179-B0D2-B24E4A363CEB}" destId="{9080C516-2B7B-4616-A44F-D901744AE134}" srcOrd="1" destOrd="0" parTransId="{FBAF5CA3-9064-4DD2-8A0E-9D0F79C80119}" sibTransId="{03E477D9-4FAD-4457-A962-D684DD106618}"/>
    <dgm:cxn modelId="{8C8A9B9A-E4C4-4AFB-933C-E36E52EDEF7C}" srcId="{69E64013-8D98-4179-B0D2-B24E4A363CEB}" destId="{26B8CA1D-D226-4EAD-B663-906A3693F324}" srcOrd="0" destOrd="0" parTransId="{0B492669-9234-46D7-A51A-BE4A87D99F26}" sibTransId="{BF5CCDE9-B948-4D3B-80AA-2A0A72ECB71F}"/>
    <dgm:cxn modelId="{F24D97A4-8E11-48D3-BD8A-5D84F7940DF6}" type="presOf" srcId="{BBFF577A-4770-4F61-AD2F-8859821CF874}" destId="{D9C5B57F-9565-4A7F-ADDD-1977A079988B}" srcOrd="0" destOrd="0" presId="urn:microsoft.com/office/officeart/2008/layout/VerticalCurvedList"/>
    <dgm:cxn modelId="{4F0706C9-0DE4-4DF5-9646-BD3B56577298}" type="presOf" srcId="{26B8CA1D-D226-4EAD-B663-906A3693F324}" destId="{BA4C7D86-BB65-4C76-AB7A-5087640588C2}" srcOrd="0" destOrd="0" presId="urn:microsoft.com/office/officeart/2008/layout/VerticalCurvedList"/>
    <dgm:cxn modelId="{4010A48F-E975-430B-A557-2FCB261C17B2}" type="presParOf" srcId="{E3001B4C-0496-44FA-9420-36834714A353}" destId="{B076AE4B-8E53-480E-9F20-6002BFA2D763}" srcOrd="0" destOrd="0" presId="urn:microsoft.com/office/officeart/2008/layout/VerticalCurvedList"/>
    <dgm:cxn modelId="{34D62E97-61A2-47FA-A1AB-7E30F170CB62}" type="presParOf" srcId="{B076AE4B-8E53-480E-9F20-6002BFA2D763}" destId="{7056D087-47F4-4F33-827B-8CD642756390}" srcOrd="0" destOrd="0" presId="urn:microsoft.com/office/officeart/2008/layout/VerticalCurvedList"/>
    <dgm:cxn modelId="{1DC9D528-93F3-4048-A734-0A7CB489BB9C}" type="presParOf" srcId="{7056D087-47F4-4F33-827B-8CD642756390}" destId="{37C11588-0D0E-4BBC-891F-3163BA5DD3BC}" srcOrd="0" destOrd="0" presId="urn:microsoft.com/office/officeart/2008/layout/VerticalCurvedList"/>
    <dgm:cxn modelId="{55F1690B-6CF7-4E4A-A6D3-6FD176FE9400}" type="presParOf" srcId="{7056D087-47F4-4F33-827B-8CD642756390}" destId="{DE72722B-4DEB-4DBF-8526-74394DC14106}" srcOrd="1" destOrd="0" presId="urn:microsoft.com/office/officeart/2008/layout/VerticalCurvedList"/>
    <dgm:cxn modelId="{B24DD45B-A7A7-4A99-AE96-680FA2942CB1}" type="presParOf" srcId="{7056D087-47F4-4F33-827B-8CD642756390}" destId="{863379C3-2551-4394-8660-8BF957F6A061}" srcOrd="2" destOrd="0" presId="urn:microsoft.com/office/officeart/2008/layout/VerticalCurvedList"/>
    <dgm:cxn modelId="{22A8791B-2F01-478D-8E46-327DD4361CDE}" type="presParOf" srcId="{7056D087-47F4-4F33-827B-8CD642756390}" destId="{108C34C0-7F3A-42FD-AABB-D4D344B70492}" srcOrd="3" destOrd="0" presId="urn:microsoft.com/office/officeart/2008/layout/VerticalCurvedList"/>
    <dgm:cxn modelId="{73DBA9FA-6EE7-430B-83FF-CD81C925DF86}" type="presParOf" srcId="{B076AE4B-8E53-480E-9F20-6002BFA2D763}" destId="{BA4C7D86-BB65-4C76-AB7A-5087640588C2}" srcOrd="1" destOrd="0" presId="urn:microsoft.com/office/officeart/2008/layout/VerticalCurvedList"/>
    <dgm:cxn modelId="{F7FDE5D0-E9C3-44CE-89F7-58AB924AB458}" type="presParOf" srcId="{B076AE4B-8E53-480E-9F20-6002BFA2D763}" destId="{75E95D05-67FA-4DA6-913B-292EC8AF15E4}" srcOrd="2" destOrd="0" presId="urn:microsoft.com/office/officeart/2008/layout/VerticalCurvedList"/>
    <dgm:cxn modelId="{021F2077-7732-4737-AA98-4FDDD57CE85D}" type="presParOf" srcId="{75E95D05-67FA-4DA6-913B-292EC8AF15E4}" destId="{93A6A008-99D3-4956-BD8E-2C62F7695750}" srcOrd="0" destOrd="0" presId="urn:microsoft.com/office/officeart/2008/layout/VerticalCurvedList"/>
    <dgm:cxn modelId="{7C4B982C-ACB7-4BC7-9FD1-E3BAAFE3236D}" type="presParOf" srcId="{B076AE4B-8E53-480E-9F20-6002BFA2D763}" destId="{E43D6098-374A-4066-8740-EC6A9EDEB5D3}" srcOrd="3" destOrd="0" presId="urn:microsoft.com/office/officeart/2008/layout/VerticalCurvedList"/>
    <dgm:cxn modelId="{A4067E88-6982-412F-828B-8ADB317CD81C}" type="presParOf" srcId="{B076AE4B-8E53-480E-9F20-6002BFA2D763}" destId="{F73B7E96-2C35-4E41-B4DD-52ACF34C0F7E}" srcOrd="4" destOrd="0" presId="urn:microsoft.com/office/officeart/2008/layout/VerticalCurvedList"/>
    <dgm:cxn modelId="{8837E845-5E4B-4B81-842D-8081D4B99BB4}" type="presParOf" srcId="{F73B7E96-2C35-4E41-B4DD-52ACF34C0F7E}" destId="{70B8BF4A-EB4F-401D-B82F-E487FFF8BA8F}" srcOrd="0" destOrd="0" presId="urn:microsoft.com/office/officeart/2008/layout/VerticalCurvedList"/>
    <dgm:cxn modelId="{49A73720-A22A-4880-9BA9-1004EB7B8FEF}" type="presParOf" srcId="{B076AE4B-8E53-480E-9F20-6002BFA2D763}" destId="{D9C5B57F-9565-4A7F-ADDD-1977A079988B}" srcOrd="5" destOrd="0" presId="urn:microsoft.com/office/officeart/2008/layout/VerticalCurvedList"/>
    <dgm:cxn modelId="{9EFC117F-FC68-424C-B695-68352465F16B}" type="presParOf" srcId="{B076AE4B-8E53-480E-9F20-6002BFA2D763}" destId="{25ACAD69-29BD-437D-AACB-41E8F8C91CA5}" srcOrd="6" destOrd="0" presId="urn:microsoft.com/office/officeart/2008/layout/VerticalCurvedList"/>
    <dgm:cxn modelId="{B30EC189-79A1-42BB-BFBD-D18BE198D5A1}" type="presParOf" srcId="{25ACAD69-29BD-437D-AACB-41E8F8C91CA5}" destId="{CED45248-1BC7-4485-B9B8-862077963B3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9164956-1DE0-41B0-BA4C-3594146E9045}" type="doc">
      <dgm:prSet loTypeId="urn:microsoft.com/office/officeart/2005/8/layout/vList3" loCatId="list" qsTypeId="urn:microsoft.com/office/officeart/2005/8/quickstyle/simple1" qsCatId="simple" csTypeId="urn:microsoft.com/office/officeart/2005/8/colors/accent1_5" csCatId="accent1" phldr="1"/>
      <dgm:spPr/>
      <dgm:t>
        <a:bodyPr/>
        <a:lstStyle/>
        <a:p>
          <a:endParaRPr lang="en-US"/>
        </a:p>
      </dgm:t>
    </dgm:pt>
    <dgm:pt modelId="{94251CDF-F633-47A9-994E-22EDEC62D941}">
      <dgm:prSet custT="1"/>
      <dgm:spPr/>
      <dgm:t>
        <a:bodyPr/>
        <a:lstStyle/>
        <a:p>
          <a:r>
            <a:rPr lang="en-US" sz="1400" b="0" i="0" baseline="0"/>
            <a:t>DmsWorkers</a:t>
          </a:r>
          <a:endParaRPr lang="en-US" sz="1400"/>
        </a:p>
      </dgm:t>
    </dgm:pt>
    <dgm:pt modelId="{B3B43B9E-24EE-4A25-9C58-2DBDFCF125FF}" type="parTrans" cxnId="{003DB95B-0368-4FCB-BFB3-E93C88093E6C}">
      <dgm:prSet/>
      <dgm:spPr/>
      <dgm:t>
        <a:bodyPr/>
        <a:lstStyle/>
        <a:p>
          <a:endParaRPr lang="en-US" sz="1400"/>
        </a:p>
      </dgm:t>
    </dgm:pt>
    <dgm:pt modelId="{3F987279-21C1-416A-A7F6-8C8E77701F26}" type="sibTrans" cxnId="{003DB95B-0368-4FCB-BFB3-E93C88093E6C}">
      <dgm:prSet/>
      <dgm:spPr/>
      <dgm:t>
        <a:bodyPr/>
        <a:lstStyle/>
        <a:p>
          <a:endParaRPr lang="en-US" sz="1400"/>
        </a:p>
      </dgm:t>
    </dgm:pt>
    <dgm:pt modelId="{EDD2D8DF-A507-49D3-A71A-745584F9F616}">
      <dgm:prSet custT="1"/>
      <dgm:spPr/>
      <dgm:t>
        <a:bodyPr/>
        <a:lstStyle/>
        <a:p>
          <a:r>
            <a:rPr lang="en-US" sz="1400" b="0" i="0" baseline="0" dirty="0" err="1"/>
            <a:t>ExecRequests</a:t>
          </a:r>
          <a:endParaRPr lang="en-US" sz="1400" dirty="0"/>
        </a:p>
      </dgm:t>
    </dgm:pt>
    <dgm:pt modelId="{B42D0897-263E-485B-8903-E38E0EB172A4}" type="parTrans" cxnId="{697F9EB4-39C2-424D-AD63-D49D444A63B3}">
      <dgm:prSet/>
      <dgm:spPr/>
      <dgm:t>
        <a:bodyPr/>
        <a:lstStyle/>
        <a:p>
          <a:endParaRPr lang="en-US" sz="1400"/>
        </a:p>
      </dgm:t>
    </dgm:pt>
    <dgm:pt modelId="{1D2143D7-5841-48C7-A1B2-187B6D72DA74}" type="sibTrans" cxnId="{697F9EB4-39C2-424D-AD63-D49D444A63B3}">
      <dgm:prSet/>
      <dgm:spPr/>
      <dgm:t>
        <a:bodyPr/>
        <a:lstStyle/>
        <a:p>
          <a:endParaRPr lang="en-US" sz="1400"/>
        </a:p>
      </dgm:t>
    </dgm:pt>
    <dgm:pt modelId="{791705F1-F7F8-4BC8-8D38-A828F665CF62}">
      <dgm:prSet custT="1"/>
      <dgm:spPr/>
      <dgm:t>
        <a:bodyPr/>
        <a:lstStyle/>
        <a:p>
          <a:r>
            <a:rPr lang="en-US" sz="1400" b="0" i="0" baseline="0" dirty="0" err="1"/>
            <a:t>RequestSteps</a:t>
          </a:r>
          <a:endParaRPr lang="en-US" sz="1400" dirty="0"/>
        </a:p>
      </dgm:t>
    </dgm:pt>
    <dgm:pt modelId="{AA0EE213-CEA7-4ABB-B9B5-81EBD925DE27}" type="parTrans" cxnId="{6996C797-C8FE-406E-9D10-86D2EB3DC9AA}">
      <dgm:prSet/>
      <dgm:spPr/>
      <dgm:t>
        <a:bodyPr/>
        <a:lstStyle/>
        <a:p>
          <a:endParaRPr lang="en-US" sz="1400"/>
        </a:p>
      </dgm:t>
    </dgm:pt>
    <dgm:pt modelId="{7CE67C1A-8F72-4AE4-BFAA-2683B0BCC394}" type="sibTrans" cxnId="{6996C797-C8FE-406E-9D10-86D2EB3DC9AA}">
      <dgm:prSet/>
      <dgm:spPr/>
      <dgm:t>
        <a:bodyPr/>
        <a:lstStyle/>
        <a:p>
          <a:endParaRPr lang="en-US" sz="1400"/>
        </a:p>
      </dgm:t>
    </dgm:pt>
    <dgm:pt modelId="{B2F7A029-9FF5-47D1-A89E-7F64D7BE1B9E}">
      <dgm:prSet custT="1"/>
      <dgm:spPr/>
      <dgm:t>
        <a:bodyPr/>
        <a:lstStyle/>
        <a:p>
          <a:r>
            <a:rPr lang="en-US" sz="1400" b="0" i="0" baseline="0" dirty="0" err="1"/>
            <a:t>SqlRequests</a:t>
          </a:r>
          <a:endParaRPr lang="en-US" sz="1400" dirty="0"/>
        </a:p>
      </dgm:t>
    </dgm:pt>
    <dgm:pt modelId="{F68ADD48-13A8-4CC5-BC44-DC8EA60E16F0}" type="parTrans" cxnId="{C65BA103-9E9B-4A7C-A861-AB410104FC52}">
      <dgm:prSet/>
      <dgm:spPr/>
      <dgm:t>
        <a:bodyPr/>
        <a:lstStyle/>
        <a:p>
          <a:endParaRPr lang="en-US" sz="1400"/>
        </a:p>
      </dgm:t>
    </dgm:pt>
    <dgm:pt modelId="{0AB75166-D2EC-4531-AE59-DAD88FD16CF8}" type="sibTrans" cxnId="{C65BA103-9E9B-4A7C-A861-AB410104FC52}">
      <dgm:prSet/>
      <dgm:spPr/>
      <dgm:t>
        <a:bodyPr/>
        <a:lstStyle/>
        <a:p>
          <a:endParaRPr lang="en-US" sz="1400"/>
        </a:p>
      </dgm:t>
    </dgm:pt>
    <dgm:pt modelId="{5F93ACC8-490F-4933-81CC-76DABD5F18AD}" type="pres">
      <dgm:prSet presAssocID="{39164956-1DE0-41B0-BA4C-3594146E9045}" presName="linearFlow" presStyleCnt="0">
        <dgm:presLayoutVars>
          <dgm:dir/>
          <dgm:resizeHandles val="exact"/>
        </dgm:presLayoutVars>
      </dgm:prSet>
      <dgm:spPr/>
    </dgm:pt>
    <dgm:pt modelId="{392D5952-D93A-4B3F-AEF0-8A70FE96748D}" type="pres">
      <dgm:prSet presAssocID="{94251CDF-F633-47A9-994E-22EDEC62D941}" presName="composite" presStyleCnt="0"/>
      <dgm:spPr/>
    </dgm:pt>
    <dgm:pt modelId="{D0957F38-E594-4903-AF86-E71162834A9A}" type="pres">
      <dgm:prSet presAssocID="{94251CDF-F633-47A9-994E-22EDEC62D941}" presName="imgShp" presStyleLbl="fgImgPlace1" presStyleIdx="0" presStyleCnt="4"/>
      <dgm:spPr/>
    </dgm:pt>
    <dgm:pt modelId="{1CF91531-61D5-4783-A0D3-A1BED84E8FDD}" type="pres">
      <dgm:prSet presAssocID="{94251CDF-F633-47A9-994E-22EDEC62D941}" presName="txShp" presStyleLbl="node1" presStyleIdx="0" presStyleCnt="4">
        <dgm:presLayoutVars>
          <dgm:bulletEnabled val="1"/>
        </dgm:presLayoutVars>
      </dgm:prSet>
      <dgm:spPr/>
    </dgm:pt>
    <dgm:pt modelId="{B1E5F578-F150-4D83-B524-0D26D862D9ED}" type="pres">
      <dgm:prSet presAssocID="{3F987279-21C1-416A-A7F6-8C8E77701F26}" presName="spacing" presStyleCnt="0"/>
      <dgm:spPr/>
    </dgm:pt>
    <dgm:pt modelId="{4AD8C838-5DC5-4649-9DEA-F4E60BD86A7F}" type="pres">
      <dgm:prSet presAssocID="{EDD2D8DF-A507-49D3-A71A-745584F9F616}" presName="composite" presStyleCnt="0"/>
      <dgm:spPr/>
    </dgm:pt>
    <dgm:pt modelId="{152F422C-6402-4F87-84D5-F09AB9890494}" type="pres">
      <dgm:prSet presAssocID="{EDD2D8DF-A507-49D3-A71A-745584F9F616}" presName="imgShp" presStyleLbl="fgImgPlace1" presStyleIdx="1" presStyleCnt="4"/>
      <dgm:spPr/>
    </dgm:pt>
    <dgm:pt modelId="{B1518849-FAC1-4787-937F-5A5DDD9A69CA}" type="pres">
      <dgm:prSet presAssocID="{EDD2D8DF-A507-49D3-A71A-745584F9F616}" presName="txShp" presStyleLbl="node1" presStyleIdx="1" presStyleCnt="4">
        <dgm:presLayoutVars>
          <dgm:bulletEnabled val="1"/>
        </dgm:presLayoutVars>
      </dgm:prSet>
      <dgm:spPr/>
    </dgm:pt>
    <dgm:pt modelId="{89263E76-258B-4CAE-AFBA-781D872B9BE1}" type="pres">
      <dgm:prSet presAssocID="{1D2143D7-5841-48C7-A1B2-187B6D72DA74}" presName="spacing" presStyleCnt="0"/>
      <dgm:spPr/>
    </dgm:pt>
    <dgm:pt modelId="{B0190992-E4C5-4EEC-9C4B-DB2CA64BE051}" type="pres">
      <dgm:prSet presAssocID="{791705F1-F7F8-4BC8-8D38-A828F665CF62}" presName="composite" presStyleCnt="0"/>
      <dgm:spPr/>
    </dgm:pt>
    <dgm:pt modelId="{39F285AA-EB7E-43DD-AE97-698BCA9FDFF2}" type="pres">
      <dgm:prSet presAssocID="{791705F1-F7F8-4BC8-8D38-A828F665CF62}" presName="imgShp" presStyleLbl="fgImgPlace1" presStyleIdx="2" presStyleCnt="4"/>
      <dgm:spPr/>
    </dgm:pt>
    <dgm:pt modelId="{B5E2C1E1-825D-4383-8C25-195166CBE49F}" type="pres">
      <dgm:prSet presAssocID="{791705F1-F7F8-4BC8-8D38-A828F665CF62}" presName="txShp" presStyleLbl="node1" presStyleIdx="2" presStyleCnt="4">
        <dgm:presLayoutVars>
          <dgm:bulletEnabled val="1"/>
        </dgm:presLayoutVars>
      </dgm:prSet>
      <dgm:spPr/>
    </dgm:pt>
    <dgm:pt modelId="{4524DA02-263D-4CE2-B798-8A100E49C357}" type="pres">
      <dgm:prSet presAssocID="{7CE67C1A-8F72-4AE4-BFAA-2683B0BCC394}" presName="spacing" presStyleCnt="0"/>
      <dgm:spPr/>
    </dgm:pt>
    <dgm:pt modelId="{B4D51F54-2E17-40C2-8571-98B3C57FF7E3}" type="pres">
      <dgm:prSet presAssocID="{B2F7A029-9FF5-47D1-A89E-7F64D7BE1B9E}" presName="composite" presStyleCnt="0"/>
      <dgm:spPr/>
    </dgm:pt>
    <dgm:pt modelId="{37B1B734-759F-4403-AE6F-9DFDA7BA32C9}" type="pres">
      <dgm:prSet presAssocID="{B2F7A029-9FF5-47D1-A89E-7F64D7BE1B9E}" presName="imgShp" presStyleLbl="fgImgPlace1" presStyleIdx="3" presStyleCnt="4"/>
      <dgm:spPr/>
    </dgm:pt>
    <dgm:pt modelId="{EAC83A25-D50F-4AAD-8E0C-4ED713551B9E}" type="pres">
      <dgm:prSet presAssocID="{B2F7A029-9FF5-47D1-A89E-7F64D7BE1B9E}" presName="txShp" presStyleLbl="node1" presStyleIdx="3" presStyleCnt="4">
        <dgm:presLayoutVars>
          <dgm:bulletEnabled val="1"/>
        </dgm:presLayoutVars>
      </dgm:prSet>
      <dgm:spPr/>
    </dgm:pt>
  </dgm:ptLst>
  <dgm:cxnLst>
    <dgm:cxn modelId="{C65BA103-9E9B-4A7C-A861-AB410104FC52}" srcId="{39164956-1DE0-41B0-BA4C-3594146E9045}" destId="{B2F7A029-9FF5-47D1-A89E-7F64D7BE1B9E}" srcOrd="3" destOrd="0" parTransId="{F68ADD48-13A8-4CC5-BC44-DC8EA60E16F0}" sibTransId="{0AB75166-D2EC-4531-AE59-DAD88FD16CF8}"/>
    <dgm:cxn modelId="{003DB95B-0368-4FCB-BFB3-E93C88093E6C}" srcId="{39164956-1DE0-41B0-BA4C-3594146E9045}" destId="{94251CDF-F633-47A9-994E-22EDEC62D941}" srcOrd="0" destOrd="0" parTransId="{B3B43B9E-24EE-4A25-9C58-2DBDFCF125FF}" sibTransId="{3F987279-21C1-416A-A7F6-8C8E77701F26}"/>
    <dgm:cxn modelId="{88CDED55-E359-4EB3-B932-6BDE0652885D}" type="presOf" srcId="{39164956-1DE0-41B0-BA4C-3594146E9045}" destId="{5F93ACC8-490F-4933-81CC-76DABD5F18AD}" srcOrd="0" destOrd="0" presId="urn:microsoft.com/office/officeart/2005/8/layout/vList3"/>
    <dgm:cxn modelId="{2B6BAB89-713B-469C-AD5D-65B495CF7222}" type="presOf" srcId="{EDD2D8DF-A507-49D3-A71A-745584F9F616}" destId="{B1518849-FAC1-4787-937F-5A5DDD9A69CA}" srcOrd="0" destOrd="0" presId="urn:microsoft.com/office/officeart/2005/8/layout/vList3"/>
    <dgm:cxn modelId="{9DF71C8F-77F6-45A7-93E6-8B1799D779C5}" type="presOf" srcId="{791705F1-F7F8-4BC8-8D38-A828F665CF62}" destId="{B5E2C1E1-825D-4383-8C25-195166CBE49F}" srcOrd="0" destOrd="0" presId="urn:microsoft.com/office/officeart/2005/8/layout/vList3"/>
    <dgm:cxn modelId="{6996C797-C8FE-406E-9D10-86D2EB3DC9AA}" srcId="{39164956-1DE0-41B0-BA4C-3594146E9045}" destId="{791705F1-F7F8-4BC8-8D38-A828F665CF62}" srcOrd="2" destOrd="0" parTransId="{AA0EE213-CEA7-4ABB-B9B5-81EBD925DE27}" sibTransId="{7CE67C1A-8F72-4AE4-BFAA-2683B0BCC394}"/>
    <dgm:cxn modelId="{697F9EB4-39C2-424D-AD63-D49D444A63B3}" srcId="{39164956-1DE0-41B0-BA4C-3594146E9045}" destId="{EDD2D8DF-A507-49D3-A71A-745584F9F616}" srcOrd="1" destOrd="0" parTransId="{B42D0897-263E-485B-8903-E38E0EB172A4}" sibTransId="{1D2143D7-5841-48C7-A1B2-187B6D72DA74}"/>
    <dgm:cxn modelId="{9C81CDDD-61D0-4919-A0A8-7CEC8849B7C0}" type="presOf" srcId="{B2F7A029-9FF5-47D1-A89E-7F64D7BE1B9E}" destId="{EAC83A25-D50F-4AAD-8E0C-4ED713551B9E}" srcOrd="0" destOrd="0" presId="urn:microsoft.com/office/officeart/2005/8/layout/vList3"/>
    <dgm:cxn modelId="{CF5D92DF-FBEE-40CC-A70A-CAE616925253}" type="presOf" srcId="{94251CDF-F633-47A9-994E-22EDEC62D941}" destId="{1CF91531-61D5-4783-A0D3-A1BED84E8FDD}" srcOrd="0" destOrd="0" presId="urn:microsoft.com/office/officeart/2005/8/layout/vList3"/>
    <dgm:cxn modelId="{B9D6E8A8-E34B-47FE-8C51-986257168403}" type="presParOf" srcId="{5F93ACC8-490F-4933-81CC-76DABD5F18AD}" destId="{392D5952-D93A-4B3F-AEF0-8A70FE96748D}" srcOrd="0" destOrd="0" presId="urn:microsoft.com/office/officeart/2005/8/layout/vList3"/>
    <dgm:cxn modelId="{F9FC7F7F-BAF9-479D-A114-7847B9EC74F5}" type="presParOf" srcId="{392D5952-D93A-4B3F-AEF0-8A70FE96748D}" destId="{D0957F38-E594-4903-AF86-E71162834A9A}" srcOrd="0" destOrd="0" presId="urn:microsoft.com/office/officeart/2005/8/layout/vList3"/>
    <dgm:cxn modelId="{19439DA0-D70D-4732-9789-E966501012E1}" type="presParOf" srcId="{392D5952-D93A-4B3F-AEF0-8A70FE96748D}" destId="{1CF91531-61D5-4783-A0D3-A1BED84E8FDD}" srcOrd="1" destOrd="0" presId="urn:microsoft.com/office/officeart/2005/8/layout/vList3"/>
    <dgm:cxn modelId="{94921C53-AC21-463D-AABB-A6B2B7DDC9FF}" type="presParOf" srcId="{5F93ACC8-490F-4933-81CC-76DABD5F18AD}" destId="{B1E5F578-F150-4D83-B524-0D26D862D9ED}" srcOrd="1" destOrd="0" presId="urn:microsoft.com/office/officeart/2005/8/layout/vList3"/>
    <dgm:cxn modelId="{383E225E-F51A-49DF-994E-0562A41639AF}" type="presParOf" srcId="{5F93ACC8-490F-4933-81CC-76DABD5F18AD}" destId="{4AD8C838-5DC5-4649-9DEA-F4E60BD86A7F}" srcOrd="2" destOrd="0" presId="urn:microsoft.com/office/officeart/2005/8/layout/vList3"/>
    <dgm:cxn modelId="{E4854910-167F-4A33-AC37-2ECD7EE76012}" type="presParOf" srcId="{4AD8C838-5DC5-4649-9DEA-F4E60BD86A7F}" destId="{152F422C-6402-4F87-84D5-F09AB9890494}" srcOrd="0" destOrd="0" presId="urn:microsoft.com/office/officeart/2005/8/layout/vList3"/>
    <dgm:cxn modelId="{1082D516-CA42-459D-82FF-1D7198A43255}" type="presParOf" srcId="{4AD8C838-5DC5-4649-9DEA-F4E60BD86A7F}" destId="{B1518849-FAC1-4787-937F-5A5DDD9A69CA}" srcOrd="1" destOrd="0" presId="urn:microsoft.com/office/officeart/2005/8/layout/vList3"/>
    <dgm:cxn modelId="{5264980E-9812-4E1C-A543-10ED0B85F68A}" type="presParOf" srcId="{5F93ACC8-490F-4933-81CC-76DABD5F18AD}" destId="{89263E76-258B-4CAE-AFBA-781D872B9BE1}" srcOrd="3" destOrd="0" presId="urn:microsoft.com/office/officeart/2005/8/layout/vList3"/>
    <dgm:cxn modelId="{A06B66AD-6AF8-4372-9B25-870967A065E6}" type="presParOf" srcId="{5F93ACC8-490F-4933-81CC-76DABD5F18AD}" destId="{B0190992-E4C5-4EEC-9C4B-DB2CA64BE051}" srcOrd="4" destOrd="0" presId="urn:microsoft.com/office/officeart/2005/8/layout/vList3"/>
    <dgm:cxn modelId="{6C8D3A24-43A0-421A-AE40-2151782DAB84}" type="presParOf" srcId="{B0190992-E4C5-4EEC-9C4B-DB2CA64BE051}" destId="{39F285AA-EB7E-43DD-AE97-698BCA9FDFF2}" srcOrd="0" destOrd="0" presId="urn:microsoft.com/office/officeart/2005/8/layout/vList3"/>
    <dgm:cxn modelId="{AB7D1E64-2F24-4AE5-A25B-AE8DE5457AED}" type="presParOf" srcId="{B0190992-E4C5-4EEC-9C4B-DB2CA64BE051}" destId="{B5E2C1E1-825D-4383-8C25-195166CBE49F}" srcOrd="1" destOrd="0" presId="urn:microsoft.com/office/officeart/2005/8/layout/vList3"/>
    <dgm:cxn modelId="{551C7B14-07FE-42C9-BD77-978AA00D7731}" type="presParOf" srcId="{5F93ACC8-490F-4933-81CC-76DABD5F18AD}" destId="{4524DA02-263D-4CE2-B798-8A100E49C357}" srcOrd="5" destOrd="0" presId="urn:microsoft.com/office/officeart/2005/8/layout/vList3"/>
    <dgm:cxn modelId="{775A23A8-223F-4FB4-84FF-2FFDA47146E0}" type="presParOf" srcId="{5F93ACC8-490F-4933-81CC-76DABD5F18AD}" destId="{B4D51F54-2E17-40C2-8571-98B3C57FF7E3}" srcOrd="6" destOrd="0" presId="urn:microsoft.com/office/officeart/2005/8/layout/vList3"/>
    <dgm:cxn modelId="{BFA20272-A215-4885-9A60-76C52FA56926}" type="presParOf" srcId="{B4D51F54-2E17-40C2-8571-98B3C57FF7E3}" destId="{37B1B734-759F-4403-AE6F-9DFDA7BA32C9}" srcOrd="0" destOrd="0" presId="urn:microsoft.com/office/officeart/2005/8/layout/vList3"/>
    <dgm:cxn modelId="{BCCBFA2B-C1E9-4E1C-A5D6-2AB80D41EEB1}" type="presParOf" srcId="{B4D51F54-2E17-40C2-8571-98B3C57FF7E3}" destId="{EAC83A25-D50F-4AAD-8E0C-4ED713551B9E}"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A995F02-CEC1-4A87-B807-9424F2E4A835}" type="doc">
      <dgm:prSet loTypeId="urn:microsoft.com/office/officeart/2005/8/layout/vList3" loCatId="list" qsTypeId="urn:microsoft.com/office/officeart/2005/8/quickstyle/simple1" qsCatId="simple" csTypeId="urn:microsoft.com/office/officeart/2005/8/colors/accent1_5" csCatId="accent1"/>
      <dgm:spPr/>
      <dgm:t>
        <a:bodyPr/>
        <a:lstStyle/>
        <a:p>
          <a:endParaRPr lang="en-US"/>
        </a:p>
      </dgm:t>
    </dgm:pt>
    <dgm:pt modelId="{71133CB1-3AFC-4F3E-8F9D-8FF91D8FA337}">
      <dgm:prSet custT="1"/>
      <dgm:spPr/>
      <dgm:t>
        <a:bodyPr/>
        <a:lstStyle/>
        <a:p>
          <a:r>
            <a:rPr lang="en-US" sz="1400" b="0" i="0" baseline="0"/>
            <a:t>Waits</a:t>
          </a:r>
          <a:endParaRPr lang="en-US" sz="1400"/>
        </a:p>
      </dgm:t>
    </dgm:pt>
    <dgm:pt modelId="{2ECD117F-45AD-4FEE-9D18-1D096086BB19}" type="parTrans" cxnId="{3C007A58-76CB-498F-A644-5AC564CF46D6}">
      <dgm:prSet/>
      <dgm:spPr/>
      <dgm:t>
        <a:bodyPr/>
        <a:lstStyle/>
        <a:p>
          <a:endParaRPr lang="en-US" sz="1400"/>
        </a:p>
      </dgm:t>
    </dgm:pt>
    <dgm:pt modelId="{BF20F5E7-F7C9-4E88-924F-52B4378EAE67}" type="sibTrans" cxnId="{3C007A58-76CB-498F-A644-5AC564CF46D6}">
      <dgm:prSet/>
      <dgm:spPr/>
      <dgm:t>
        <a:bodyPr/>
        <a:lstStyle/>
        <a:p>
          <a:endParaRPr lang="en-US" sz="1400"/>
        </a:p>
      </dgm:t>
    </dgm:pt>
    <dgm:pt modelId="{27E1BC93-8CC0-4FE3-B1BE-350B41D7059E}">
      <dgm:prSet custT="1"/>
      <dgm:spPr/>
      <dgm:t>
        <a:bodyPr/>
        <a:lstStyle/>
        <a:p>
          <a:r>
            <a:rPr lang="en-US" sz="1400" b="0" i="0" baseline="0"/>
            <a:t>Basic</a:t>
          </a:r>
          <a:endParaRPr lang="en-US" sz="1400"/>
        </a:p>
      </dgm:t>
    </dgm:pt>
    <dgm:pt modelId="{B79764DC-23E7-4020-9567-E2F6273F6B3B}" type="parTrans" cxnId="{04208840-8EF9-44A6-8CA9-C5B64C1507C2}">
      <dgm:prSet/>
      <dgm:spPr/>
      <dgm:t>
        <a:bodyPr/>
        <a:lstStyle/>
        <a:p>
          <a:endParaRPr lang="en-US" sz="1400"/>
        </a:p>
      </dgm:t>
    </dgm:pt>
    <dgm:pt modelId="{EC54633D-0D42-4C95-BA9A-D8098EFB1887}" type="sibTrans" cxnId="{04208840-8EF9-44A6-8CA9-C5B64C1507C2}">
      <dgm:prSet/>
      <dgm:spPr/>
      <dgm:t>
        <a:bodyPr/>
        <a:lstStyle/>
        <a:p>
          <a:endParaRPr lang="en-US" sz="1400"/>
        </a:p>
      </dgm:t>
    </dgm:pt>
    <dgm:pt modelId="{BBADBEFB-47B9-4277-ADEE-54BB0EA614FB}">
      <dgm:prSet custT="1"/>
      <dgm:spPr/>
      <dgm:t>
        <a:bodyPr/>
        <a:lstStyle/>
        <a:p>
          <a:r>
            <a:rPr lang="en-US" sz="1400" b="0" i="0" baseline="0"/>
            <a:t>InstanceAndAppAdvanced</a:t>
          </a:r>
          <a:endParaRPr lang="en-US" sz="1400"/>
        </a:p>
      </dgm:t>
    </dgm:pt>
    <dgm:pt modelId="{6928F91A-CF3E-411A-BD22-3406BEF7B410}" type="parTrans" cxnId="{7CABF7E9-3D89-401E-AFB0-C9A4C984CCC5}">
      <dgm:prSet/>
      <dgm:spPr/>
      <dgm:t>
        <a:bodyPr/>
        <a:lstStyle/>
        <a:p>
          <a:endParaRPr lang="en-US" sz="1400"/>
        </a:p>
      </dgm:t>
    </dgm:pt>
    <dgm:pt modelId="{78D91DB9-6E70-4DEF-A3A4-987CCC45B08F}" type="sibTrans" cxnId="{7CABF7E9-3D89-401E-AFB0-C9A4C984CCC5}">
      <dgm:prSet/>
      <dgm:spPr/>
      <dgm:t>
        <a:bodyPr/>
        <a:lstStyle/>
        <a:p>
          <a:endParaRPr lang="en-US" sz="1400"/>
        </a:p>
      </dgm:t>
    </dgm:pt>
    <dgm:pt modelId="{CF221ED1-1A11-4183-BE24-07D1FEC6EA37}">
      <dgm:prSet custT="1"/>
      <dgm:spPr/>
      <dgm:t>
        <a:bodyPr/>
        <a:lstStyle/>
        <a:p>
          <a:r>
            <a:rPr lang="en-US" sz="1400" b="0" i="0" baseline="0" dirty="0" err="1"/>
            <a:t>WorkloadManagement</a:t>
          </a:r>
          <a:endParaRPr lang="en-US" sz="1400" dirty="0"/>
        </a:p>
      </dgm:t>
    </dgm:pt>
    <dgm:pt modelId="{B125E274-9D09-488F-8460-48396009393B}" type="parTrans" cxnId="{4E160549-FC76-4A8E-A410-8F7DC9701F48}">
      <dgm:prSet/>
      <dgm:spPr/>
      <dgm:t>
        <a:bodyPr/>
        <a:lstStyle/>
        <a:p>
          <a:endParaRPr lang="en-US" sz="1400"/>
        </a:p>
      </dgm:t>
    </dgm:pt>
    <dgm:pt modelId="{25762823-3895-47B3-A802-800DE1AD0222}" type="sibTrans" cxnId="{4E160549-FC76-4A8E-A410-8F7DC9701F48}">
      <dgm:prSet/>
      <dgm:spPr/>
      <dgm:t>
        <a:bodyPr/>
        <a:lstStyle/>
        <a:p>
          <a:endParaRPr lang="en-US" sz="1400"/>
        </a:p>
      </dgm:t>
    </dgm:pt>
    <dgm:pt modelId="{94359B96-0022-4CCE-9D4F-D6EA9B41F114}" type="pres">
      <dgm:prSet presAssocID="{5A995F02-CEC1-4A87-B807-9424F2E4A835}" presName="linearFlow" presStyleCnt="0">
        <dgm:presLayoutVars>
          <dgm:dir/>
          <dgm:resizeHandles val="exact"/>
        </dgm:presLayoutVars>
      </dgm:prSet>
      <dgm:spPr/>
    </dgm:pt>
    <dgm:pt modelId="{C910CCC7-5BCC-4C29-B860-2F584312722D}" type="pres">
      <dgm:prSet presAssocID="{71133CB1-3AFC-4F3E-8F9D-8FF91D8FA337}" presName="composite" presStyleCnt="0"/>
      <dgm:spPr/>
    </dgm:pt>
    <dgm:pt modelId="{275B27BA-FD8C-42AE-8EEA-F89C56728147}" type="pres">
      <dgm:prSet presAssocID="{71133CB1-3AFC-4F3E-8F9D-8FF91D8FA337}" presName="imgShp" presStyleLbl="fgImgPlace1" presStyleIdx="0" presStyleCnt="4"/>
      <dgm:spPr/>
    </dgm:pt>
    <dgm:pt modelId="{AD701A29-45D2-4929-A5D2-9A75B4DDA761}" type="pres">
      <dgm:prSet presAssocID="{71133CB1-3AFC-4F3E-8F9D-8FF91D8FA337}" presName="txShp" presStyleLbl="node1" presStyleIdx="0" presStyleCnt="4">
        <dgm:presLayoutVars>
          <dgm:bulletEnabled val="1"/>
        </dgm:presLayoutVars>
      </dgm:prSet>
      <dgm:spPr/>
    </dgm:pt>
    <dgm:pt modelId="{67483FED-62AF-4DDA-891F-1226892F425F}" type="pres">
      <dgm:prSet presAssocID="{BF20F5E7-F7C9-4E88-924F-52B4378EAE67}" presName="spacing" presStyleCnt="0"/>
      <dgm:spPr/>
    </dgm:pt>
    <dgm:pt modelId="{A9F3FDF2-B617-4EC8-8B51-98CB1FEB9EB3}" type="pres">
      <dgm:prSet presAssocID="{27E1BC93-8CC0-4FE3-B1BE-350B41D7059E}" presName="composite" presStyleCnt="0"/>
      <dgm:spPr/>
    </dgm:pt>
    <dgm:pt modelId="{244A1B2E-8C5E-409F-82B8-B7DBFC18219B}" type="pres">
      <dgm:prSet presAssocID="{27E1BC93-8CC0-4FE3-B1BE-350B41D7059E}" presName="imgShp" presStyleLbl="fgImgPlace1" presStyleIdx="1" presStyleCnt="4"/>
      <dgm:spPr/>
    </dgm:pt>
    <dgm:pt modelId="{933A4BED-80FA-4F0E-8C3E-4F80ADDCEF45}" type="pres">
      <dgm:prSet presAssocID="{27E1BC93-8CC0-4FE3-B1BE-350B41D7059E}" presName="txShp" presStyleLbl="node1" presStyleIdx="1" presStyleCnt="4">
        <dgm:presLayoutVars>
          <dgm:bulletEnabled val="1"/>
        </dgm:presLayoutVars>
      </dgm:prSet>
      <dgm:spPr/>
    </dgm:pt>
    <dgm:pt modelId="{F3B5741B-ED00-4278-8BD8-9ABEE4093621}" type="pres">
      <dgm:prSet presAssocID="{EC54633D-0D42-4C95-BA9A-D8098EFB1887}" presName="spacing" presStyleCnt="0"/>
      <dgm:spPr/>
    </dgm:pt>
    <dgm:pt modelId="{CA7D33B8-9137-4A6F-A0D2-C77CAA22B235}" type="pres">
      <dgm:prSet presAssocID="{BBADBEFB-47B9-4277-ADEE-54BB0EA614FB}" presName="composite" presStyleCnt="0"/>
      <dgm:spPr/>
    </dgm:pt>
    <dgm:pt modelId="{D2422BFD-7306-418B-8CE0-7B2DB6E711D5}" type="pres">
      <dgm:prSet presAssocID="{BBADBEFB-47B9-4277-ADEE-54BB0EA614FB}" presName="imgShp" presStyleLbl="fgImgPlace1" presStyleIdx="2" presStyleCnt="4"/>
      <dgm:spPr/>
    </dgm:pt>
    <dgm:pt modelId="{E81A9041-6237-40BD-8FA3-5A9E1BE8C96F}" type="pres">
      <dgm:prSet presAssocID="{BBADBEFB-47B9-4277-ADEE-54BB0EA614FB}" presName="txShp" presStyleLbl="node1" presStyleIdx="2" presStyleCnt="4">
        <dgm:presLayoutVars>
          <dgm:bulletEnabled val="1"/>
        </dgm:presLayoutVars>
      </dgm:prSet>
      <dgm:spPr/>
    </dgm:pt>
    <dgm:pt modelId="{7A034046-FE8F-4860-BA14-7DFF92D843B8}" type="pres">
      <dgm:prSet presAssocID="{78D91DB9-6E70-4DEF-A3A4-987CCC45B08F}" presName="spacing" presStyleCnt="0"/>
      <dgm:spPr/>
    </dgm:pt>
    <dgm:pt modelId="{07EB8039-0F6A-4E52-82F9-23C3920593A2}" type="pres">
      <dgm:prSet presAssocID="{CF221ED1-1A11-4183-BE24-07D1FEC6EA37}" presName="composite" presStyleCnt="0"/>
      <dgm:spPr/>
    </dgm:pt>
    <dgm:pt modelId="{574C9373-1231-4D45-949D-E48348FD3512}" type="pres">
      <dgm:prSet presAssocID="{CF221ED1-1A11-4183-BE24-07D1FEC6EA37}" presName="imgShp" presStyleLbl="fgImgPlace1" presStyleIdx="3" presStyleCnt="4"/>
      <dgm:spPr/>
    </dgm:pt>
    <dgm:pt modelId="{A0BAFB84-17CB-421E-995C-FE871F596597}" type="pres">
      <dgm:prSet presAssocID="{CF221ED1-1A11-4183-BE24-07D1FEC6EA37}" presName="txShp" presStyleLbl="node1" presStyleIdx="3" presStyleCnt="4">
        <dgm:presLayoutVars>
          <dgm:bulletEnabled val="1"/>
        </dgm:presLayoutVars>
      </dgm:prSet>
      <dgm:spPr/>
    </dgm:pt>
  </dgm:ptLst>
  <dgm:cxnLst>
    <dgm:cxn modelId="{2EC90D0B-B707-4D30-A9F0-4EF71D3F7A2D}" type="presOf" srcId="{CF221ED1-1A11-4183-BE24-07D1FEC6EA37}" destId="{A0BAFB84-17CB-421E-995C-FE871F596597}" srcOrd="0" destOrd="0" presId="urn:microsoft.com/office/officeart/2005/8/layout/vList3"/>
    <dgm:cxn modelId="{7AB7FD2F-791F-4C85-8CAB-6B8A200F82EE}" type="presOf" srcId="{71133CB1-3AFC-4F3E-8F9D-8FF91D8FA337}" destId="{AD701A29-45D2-4929-A5D2-9A75B4DDA761}" srcOrd="0" destOrd="0" presId="urn:microsoft.com/office/officeart/2005/8/layout/vList3"/>
    <dgm:cxn modelId="{04208840-8EF9-44A6-8CA9-C5B64C1507C2}" srcId="{5A995F02-CEC1-4A87-B807-9424F2E4A835}" destId="{27E1BC93-8CC0-4FE3-B1BE-350B41D7059E}" srcOrd="1" destOrd="0" parTransId="{B79764DC-23E7-4020-9567-E2F6273F6B3B}" sibTransId="{EC54633D-0D42-4C95-BA9A-D8098EFB1887}"/>
    <dgm:cxn modelId="{4E160549-FC76-4A8E-A410-8F7DC9701F48}" srcId="{5A995F02-CEC1-4A87-B807-9424F2E4A835}" destId="{CF221ED1-1A11-4183-BE24-07D1FEC6EA37}" srcOrd="3" destOrd="0" parTransId="{B125E274-9D09-488F-8460-48396009393B}" sibTransId="{25762823-3895-47B3-A802-800DE1AD0222}"/>
    <dgm:cxn modelId="{18E96A56-36BD-4757-B612-414466B561E5}" type="presOf" srcId="{5A995F02-CEC1-4A87-B807-9424F2E4A835}" destId="{94359B96-0022-4CCE-9D4F-D6EA9B41F114}" srcOrd="0" destOrd="0" presId="urn:microsoft.com/office/officeart/2005/8/layout/vList3"/>
    <dgm:cxn modelId="{3C007A58-76CB-498F-A644-5AC564CF46D6}" srcId="{5A995F02-CEC1-4A87-B807-9424F2E4A835}" destId="{71133CB1-3AFC-4F3E-8F9D-8FF91D8FA337}" srcOrd="0" destOrd="0" parTransId="{2ECD117F-45AD-4FEE-9D18-1D096086BB19}" sibTransId="{BF20F5E7-F7C9-4E88-924F-52B4378EAE67}"/>
    <dgm:cxn modelId="{7BF4E5C3-6FE3-43D3-9A26-0DB83233C09C}" type="presOf" srcId="{BBADBEFB-47B9-4277-ADEE-54BB0EA614FB}" destId="{E81A9041-6237-40BD-8FA3-5A9E1BE8C96F}" srcOrd="0" destOrd="0" presId="urn:microsoft.com/office/officeart/2005/8/layout/vList3"/>
    <dgm:cxn modelId="{7CABF7E9-3D89-401E-AFB0-C9A4C984CCC5}" srcId="{5A995F02-CEC1-4A87-B807-9424F2E4A835}" destId="{BBADBEFB-47B9-4277-ADEE-54BB0EA614FB}" srcOrd="2" destOrd="0" parTransId="{6928F91A-CF3E-411A-BD22-3406BEF7B410}" sibTransId="{78D91DB9-6E70-4DEF-A3A4-987CCC45B08F}"/>
    <dgm:cxn modelId="{BEC53CFA-7257-4721-BE41-C8950480B55B}" type="presOf" srcId="{27E1BC93-8CC0-4FE3-B1BE-350B41D7059E}" destId="{933A4BED-80FA-4F0E-8C3E-4F80ADDCEF45}" srcOrd="0" destOrd="0" presId="urn:microsoft.com/office/officeart/2005/8/layout/vList3"/>
    <dgm:cxn modelId="{DD960E04-659F-4764-86C3-E95EA21704CA}" type="presParOf" srcId="{94359B96-0022-4CCE-9D4F-D6EA9B41F114}" destId="{C910CCC7-5BCC-4C29-B860-2F584312722D}" srcOrd="0" destOrd="0" presId="urn:microsoft.com/office/officeart/2005/8/layout/vList3"/>
    <dgm:cxn modelId="{E1DB8853-4591-4DD7-AD76-B609B13CD350}" type="presParOf" srcId="{C910CCC7-5BCC-4C29-B860-2F584312722D}" destId="{275B27BA-FD8C-42AE-8EEA-F89C56728147}" srcOrd="0" destOrd="0" presId="urn:microsoft.com/office/officeart/2005/8/layout/vList3"/>
    <dgm:cxn modelId="{B42B8B70-3E3B-46CF-856D-6B090387BEA6}" type="presParOf" srcId="{C910CCC7-5BCC-4C29-B860-2F584312722D}" destId="{AD701A29-45D2-4929-A5D2-9A75B4DDA761}" srcOrd="1" destOrd="0" presId="urn:microsoft.com/office/officeart/2005/8/layout/vList3"/>
    <dgm:cxn modelId="{3D62C9ED-44D3-479E-9F8D-036125FA3BBD}" type="presParOf" srcId="{94359B96-0022-4CCE-9D4F-D6EA9B41F114}" destId="{67483FED-62AF-4DDA-891F-1226892F425F}" srcOrd="1" destOrd="0" presId="urn:microsoft.com/office/officeart/2005/8/layout/vList3"/>
    <dgm:cxn modelId="{4CAE1FEE-8AE6-464C-B59D-C4AB97CCD38C}" type="presParOf" srcId="{94359B96-0022-4CCE-9D4F-D6EA9B41F114}" destId="{A9F3FDF2-B617-4EC8-8B51-98CB1FEB9EB3}" srcOrd="2" destOrd="0" presId="urn:microsoft.com/office/officeart/2005/8/layout/vList3"/>
    <dgm:cxn modelId="{228C8FFD-2F93-4995-8E76-8224A53CEEDC}" type="presParOf" srcId="{A9F3FDF2-B617-4EC8-8B51-98CB1FEB9EB3}" destId="{244A1B2E-8C5E-409F-82B8-B7DBFC18219B}" srcOrd="0" destOrd="0" presId="urn:microsoft.com/office/officeart/2005/8/layout/vList3"/>
    <dgm:cxn modelId="{030E0FC3-2BB9-4C8B-9E5C-B1D1598B624A}" type="presParOf" srcId="{A9F3FDF2-B617-4EC8-8B51-98CB1FEB9EB3}" destId="{933A4BED-80FA-4F0E-8C3E-4F80ADDCEF45}" srcOrd="1" destOrd="0" presId="urn:microsoft.com/office/officeart/2005/8/layout/vList3"/>
    <dgm:cxn modelId="{0F8DE16C-2D3F-4451-8277-6A3FBB30C1DA}" type="presParOf" srcId="{94359B96-0022-4CCE-9D4F-D6EA9B41F114}" destId="{F3B5741B-ED00-4278-8BD8-9ABEE4093621}" srcOrd="3" destOrd="0" presId="urn:microsoft.com/office/officeart/2005/8/layout/vList3"/>
    <dgm:cxn modelId="{B79649BA-8285-48CB-872F-EBE69192AB99}" type="presParOf" srcId="{94359B96-0022-4CCE-9D4F-D6EA9B41F114}" destId="{CA7D33B8-9137-4A6F-A0D2-C77CAA22B235}" srcOrd="4" destOrd="0" presId="urn:microsoft.com/office/officeart/2005/8/layout/vList3"/>
    <dgm:cxn modelId="{77994E1A-4F79-4081-A0EF-FF993DD91A81}" type="presParOf" srcId="{CA7D33B8-9137-4A6F-A0D2-C77CAA22B235}" destId="{D2422BFD-7306-418B-8CE0-7B2DB6E711D5}" srcOrd="0" destOrd="0" presId="urn:microsoft.com/office/officeart/2005/8/layout/vList3"/>
    <dgm:cxn modelId="{B75D1535-14A5-43AC-8066-E6B3A9E17008}" type="presParOf" srcId="{CA7D33B8-9137-4A6F-A0D2-C77CAA22B235}" destId="{E81A9041-6237-40BD-8FA3-5A9E1BE8C96F}" srcOrd="1" destOrd="0" presId="urn:microsoft.com/office/officeart/2005/8/layout/vList3"/>
    <dgm:cxn modelId="{768232F5-7A62-4CAB-91CB-CE4CF609693E}" type="presParOf" srcId="{94359B96-0022-4CCE-9D4F-D6EA9B41F114}" destId="{7A034046-FE8F-4860-BA14-7DFF92D843B8}" srcOrd="5" destOrd="0" presId="urn:microsoft.com/office/officeart/2005/8/layout/vList3"/>
    <dgm:cxn modelId="{902B6C82-B994-4279-BC00-2E52B79088A1}" type="presParOf" srcId="{94359B96-0022-4CCE-9D4F-D6EA9B41F114}" destId="{07EB8039-0F6A-4E52-82F9-23C3920593A2}" srcOrd="6" destOrd="0" presId="urn:microsoft.com/office/officeart/2005/8/layout/vList3"/>
    <dgm:cxn modelId="{C9E9F613-A883-4675-BEB0-3EE2161EF05D}" type="presParOf" srcId="{07EB8039-0F6A-4E52-82F9-23C3920593A2}" destId="{574C9373-1231-4D45-949D-E48348FD3512}" srcOrd="0" destOrd="0" presId="urn:microsoft.com/office/officeart/2005/8/layout/vList3"/>
    <dgm:cxn modelId="{AE93D71C-C0E5-42A1-8125-707EA8DF9704}" type="presParOf" srcId="{07EB8039-0F6A-4E52-82F9-23C3920593A2}" destId="{A0BAFB84-17CB-421E-995C-FE871F596597}" srcOrd="1" destOrd="0" presId="urn:microsoft.com/office/officeart/2005/8/layout/vList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67FC218-FA99-44ED-BACD-CA75695A511B}" type="doc">
      <dgm:prSet loTypeId="urn:microsoft.com/office/officeart/2005/8/layout/list1" loCatId="list" qsTypeId="urn:microsoft.com/office/officeart/2005/8/quickstyle/simple1" qsCatId="simple" csTypeId="urn:microsoft.com/office/officeart/2005/8/colors/accent0_3" csCatId="mainScheme"/>
      <dgm:spPr/>
      <dgm:t>
        <a:bodyPr/>
        <a:lstStyle/>
        <a:p>
          <a:endParaRPr lang="en-US"/>
        </a:p>
      </dgm:t>
    </dgm:pt>
    <dgm:pt modelId="{FDB1FEE3-46E3-4774-AC93-2B12A2F5B1DA}">
      <dgm:prSet custT="1"/>
      <dgm:spPr/>
      <dgm:t>
        <a:bodyPr/>
        <a:lstStyle/>
        <a:p>
          <a:r>
            <a:rPr lang="en-US" sz="2400" baseline="0"/>
            <a:t>Customizable</a:t>
          </a:r>
          <a:endParaRPr lang="en-US" sz="2400"/>
        </a:p>
      </dgm:t>
    </dgm:pt>
    <dgm:pt modelId="{A13FE402-8292-421F-82BA-89074D730BDD}" type="parTrans" cxnId="{2FB71616-68AC-4273-9972-22311D474630}">
      <dgm:prSet/>
      <dgm:spPr/>
      <dgm:t>
        <a:bodyPr/>
        <a:lstStyle/>
        <a:p>
          <a:endParaRPr lang="en-US"/>
        </a:p>
      </dgm:t>
    </dgm:pt>
    <dgm:pt modelId="{BBF475A0-F70F-4A5E-A9A9-2F1E01CA410E}" type="sibTrans" cxnId="{2FB71616-68AC-4273-9972-22311D474630}">
      <dgm:prSet/>
      <dgm:spPr/>
      <dgm:t>
        <a:bodyPr/>
        <a:lstStyle/>
        <a:p>
          <a:endParaRPr lang="en-US"/>
        </a:p>
      </dgm:t>
    </dgm:pt>
    <dgm:pt modelId="{DE0D0F4E-4D6A-4797-A0F8-D9AC53262211}">
      <dgm:prSet custT="1"/>
      <dgm:spPr/>
      <dgm:t>
        <a:bodyPr/>
        <a:lstStyle/>
        <a:p>
          <a:r>
            <a:rPr lang="en-US" sz="2400" baseline="0"/>
            <a:t>Pin:</a:t>
          </a:r>
          <a:endParaRPr lang="en-US" sz="2400"/>
        </a:p>
      </dgm:t>
    </dgm:pt>
    <dgm:pt modelId="{0819A93A-69A8-4A02-8B40-AFCB45057E29}" type="parTrans" cxnId="{C8DC34E0-7419-4B22-9909-A0B5C9505EF4}">
      <dgm:prSet/>
      <dgm:spPr/>
      <dgm:t>
        <a:bodyPr/>
        <a:lstStyle/>
        <a:p>
          <a:endParaRPr lang="en-US"/>
        </a:p>
      </dgm:t>
    </dgm:pt>
    <dgm:pt modelId="{C80A6C4E-2893-4134-9104-24F1C9D3E094}" type="sibTrans" cxnId="{C8DC34E0-7419-4B22-9909-A0B5C9505EF4}">
      <dgm:prSet/>
      <dgm:spPr/>
      <dgm:t>
        <a:bodyPr/>
        <a:lstStyle/>
        <a:p>
          <a:endParaRPr lang="en-US"/>
        </a:p>
      </dgm:t>
    </dgm:pt>
    <dgm:pt modelId="{C1439C93-161F-4B60-BE0B-DE975CA8193E}">
      <dgm:prSet/>
      <dgm:spPr/>
      <dgm:t>
        <a:bodyPr/>
        <a:lstStyle/>
        <a:p>
          <a:r>
            <a:rPr lang="en-US" baseline="0"/>
            <a:t>Resources</a:t>
          </a:r>
          <a:endParaRPr lang="en-US"/>
        </a:p>
      </dgm:t>
    </dgm:pt>
    <dgm:pt modelId="{8B3728AA-2558-4B4C-955E-B1CC51267532}" type="parTrans" cxnId="{F7D38AE3-EE9E-4B5F-9931-07DDC0C4C311}">
      <dgm:prSet/>
      <dgm:spPr/>
      <dgm:t>
        <a:bodyPr/>
        <a:lstStyle/>
        <a:p>
          <a:endParaRPr lang="en-US"/>
        </a:p>
      </dgm:t>
    </dgm:pt>
    <dgm:pt modelId="{0113E692-4C89-4A83-A16E-295CD588C4A9}" type="sibTrans" cxnId="{F7D38AE3-EE9E-4B5F-9931-07DDC0C4C311}">
      <dgm:prSet/>
      <dgm:spPr/>
      <dgm:t>
        <a:bodyPr/>
        <a:lstStyle/>
        <a:p>
          <a:endParaRPr lang="en-US"/>
        </a:p>
      </dgm:t>
    </dgm:pt>
    <dgm:pt modelId="{E02ABF5B-6FB0-46D1-96C6-029C60BCB4C4}">
      <dgm:prSet/>
      <dgm:spPr/>
      <dgm:t>
        <a:bodyPr/>
        <a:lstStyle/>
        <a:p>
          <a:r>
            <a:rPr lang="en-US" baseline="0"/>
            <a:t>Metrics</a:t>
          </a:r>
          <a:endParaRPr lang="en-US"/>
        </a:p>
      </dgm:t>
    </dgm:pt>
    <dgm:pt modelId="{A22DACCA-72FB-4D8D-ADD5-733D90F84EC2}" type="parTrans" cxnId="{A9ABDCCE-D315-46CC-B510-63541719D71B}">
      <dgm:prSet/>
      <dgm:spPr/>
      <dgm:t>
        <a:bodyPr/>
        <a:lstStyle/>
        <a:p>
          <a:endParaRPr lang="en-US"/>
        </a:p>
      </dgm:t>
    </dgm:pt>
    <dgm:pt modelId="{DDBB9E1A-EF19-4A5D-A0BF-AF73F724D1E5}" type="sibTrans" cxnId="{A9ABDCCE-D315-46CC-B510-63541719D71B}">
      <dgm:prSet/>
      <dgm:spPr/>
      <dgm:t>
        <a:bodyPr/>
        <a:lstStyle/>
        <a:p>
          <a:endParaRPr lang="en-US"/>
        </a:p>
      </dgm:t>
    </dgm:pt>
    <dgm:pt modelId="{C2D88445-FC24-4D87-AF20-6019793632C7}">
      <dgm:prSet/>
      <dgm:spPr/>
      <dgm:t>
        <a:bodyPr/>
        <a:lstStyle/>
        <a:p>
          <a:r>
            <a:rPr lang="en-US" baseline="0"/>
            <a:t>Log analytics charts</a:t>
          </a:r>
          <a:endParaRPr lang="en-US"/>
        </a:p>
      </dgm:t>
    </dgm:pt>
    <dgm:pt modelId="{9C1C881A-D80B-48BB-81B7-9CF28FC8D897}" type="parTrans" cxnId="{7513FC50-7F29-4BB4-AA7A-8CCC415EB686}">
      <dgm:prSet/>
      <dgm:spPr/>
      <dgm:t>
        <a:bodyPr/>
        <a:lstStyle/>
        <a:p>
          <a:endParaRPr lang="en-US"/>
        </a:p>
      </dgm:t>
    </dgm:pt>
    <dgm:pt modelId="{27042163-8B20-4793-9B2C-7A8BC26B116A}" type="sibTrans" cxnId="{7513FC50-7F29-4BB4-AA7A-8CCC415EB686}">
      <dgm:prSet/>
      <dgm:spPr/>
      <dgm:t>
        <a:bodyPr/>
        <a:lstStyle/>
        <a:p>
          <a:endParaRPr lang="en-US"/>
        </a:p>
      </dgm:t>
    </dgm:pt>
    <dgm:pt modelId="{2BEB751C-029F-478B-A433-12270BAE0294}">
      <dgm:prSet/>
      <dgm:spPr/>
      <dgm:t>
        <a:bodyPr/>
        <a:lstStyle/>
        <a:p>
          <a:r>
            <a:rPr lang="en-US" baseline="0" dirty="0"/>
            <a:t>Text boxes</a:t>
          </a:r>
          <a:endParaRPr lang="en-US" dirty="0"/>
        </a:p>
      </dgm:t>
    </dgm:pt>
    <dgm:pt modelId="{9416DDB9-3C13-457A-8161-BD71C8747722}" type="parTrans" cxnId="{2F313F57-7708-4985-B3EB-7BC047D693FE}">
      <dgm:prSet/>
      <dgm:spPr/>
      <dgm:t>
        <a:bodyPr/>
        <a:lstStyle/>
        <a:p>
          <a:endParaRPr lang="en-US"/>
        </a:p>
      </dgm:t>
    </dgm:pt>
    <dgm:pt modelId="{F5EE7803-DEAD-427C-9553-6A33DAE6A54D}" type="sibTrans" cxnId="{2F313F57-7708-4985-B3EB-7BC047D693FE}">
      <dgm:prSet/>
      <dgm:spPr/>
      <dgm:t>
        <a:bodyPr/>
        <a:lstStyle/>
        <a:p>
          <a:endParaRPr lang="en-US"/>
        </a:p>
      </dgm:t>
    </dgm:pt>
    <dgm:pt modelId="{5A449588-9A27-46AC-933F-0D284A255CE9}">
      <dgm:prSet custT="1"/>
      <dgm:spPr/>
      <dgm:t>
        <a:bodyPr/>
        <a:lstStyle/>
        <a:p>
          <a:r>
            <a:rPr lang="en-US" sz="2400" baseline="0"/>
            <a:t>Private or shared</a:t>
          </a:r>
          <a:endParaRPr lang="en-US" sz="2400"/>
        </a:p>
      </dgm:t>
    </dgm:pt>
    <dgm:pt modelId="{FA8AE126-D730-49FE-9A81-461B756BBCDD}" type="parTrans" cxnId="{2D30E45B-B0A7-4051-AECF-45F80B0EF5B2}">
      <dgm:prSet/>
      <dgm:spPr/>
      <dgm:t>
        <a:bodyPr/>
        <a:lstStyle/>
        <a:p>
          <a:endParaRPr lang="en-US"/>
        </a:p>
      </dgm:t>
    </dgm:pt>
    <dgm:pt modelId="{D05A8AEE-8808-482A-ACC5-74664CED6E58}" type="sibTrans" cxnId="{2D30E45B-B0A7-4051-AECF-45F80B0EF5B2}">
      <dgm:prSet/>
      <dgm:spPr/>
      <dgm:t>
        <a:bodyPr/>
        <a:lstStyle/>
        <a:p>
          <a:endParaRPr lang="en-US"/>
        </a:p>
      </dgm:t>
    </dgm:pt>
    <dgm:pt modelId="{2C327970-8850-410E-A46C-331E98152217}">
      <dgm:prSet custT="1"/>
      <dgm:spPr/>
      <dgm:t>
        <a:bodyPr/>
        <a:lstStyle/>
        <a:p>
          <a:r>
            <a:rPr lang="en-US" sz="2400" baseline="0"/>
            <a:t>Back-up or copy</a:t>
          </a:r>
          <a:endParaRPr lang="en-US" sz="2400"/>
        </a:p>
      </dgm:t>
    </dgm:pt>
    <dgm:pt modelId="{01107F4C-5D75-47D3-A5B1-D83350715F43}" type="parTrans" cxnId="{EB7618E6-88BF-46B3-ABB6-44D132EA284D}">
      <dgm:prSet/>
      <dgm:spPr/>
      <dgm:t>
        <a:bodyPr/>
        <a:lstStyle/>
        <a:p>
          <a:endParaRPr lang="en-US"/>
        </a:p>
      </dgm:t>
    </dgm:pt>
    <dgm:pt modelId="{B5A6FE90-4EFD-4F77-A0CF-979C4A6AC96B}" type="sibTrans" cxnId="{EB7618E6-88BF-46B3-ABB6-44D132EA284D}">
      <dgm:prSet/>
      <dgm:spPr/>
      <dgm:t>
        <a:bodyPr/>
        <a:lstStyle/>
        <a:p>
          <a:endParaRPr lang="en-US"/>
        </a:p>
      </dgm:t>
    </dgm:pt>
    <dgm:pt modelId="{D09A100C-A18B-4DCC-B351-88D52B445640}">
      <dgm:prSet/>
      <dgm:spPr/>
      <dgm:t>
        <a:bodyPr/>
        <a:lstStyle/>
        <a:p>
          <a:r>
            <a:rPr lang="en-US" baseline="0"/>
            <a:t>Download JSON – save for backup purposes</a:t>
          </a:r>
          <a:endParaRPr lang="en-US"/>
        </a:p>
      </dgm:t>
    </dgm:pt>
    <dgm:pt modelId="{39C43BDE-19FD-4EB5-A1D2-7BD470AC1D48}" type="parTrans" cxnId="{C1756A01-BB51-4411-A600-85A71AB46832}">
      <dgm:prSet/>
      <dgm:spPr/>
      <dgm:t>
        <a:bodyPr/>
        <a:lstStyle/>
        <a:p>
          <a:endParaRPr lang="en-US"/>
        </a:p>
      </dgm:t>
    </dgm:pt>
    <dgm:pt modelId="{3A590B0E-5C94-49F2-BA95-01EDC110B18C}" type="sibTrans" cxnId="{C1756A01-BB51-4411-A600-85A71AB46832}">
      <dgm:prSet/>
      <dgm:spPr/>
      <dgm:t>
        <a:bodyPr/>
        <a:lstStyle/>
        <a:p>
          <a:endParaRPr lang="en-US"/>
        </a:p>
      </dgm:t>
    </dgm:pt>
    <dgm:pt modelId="{025E4E1A-F4EC-4FF5-B75A-61AB50CF1787}">
      <dgm:prSet/>
      <dgm:spPr/>
      <dgm:t>
        <a:bodyPr/>
        <a:lstStyle/>
        <a:p>
          <a:r>
            <a:rPr lang="en-US" baseline="0"/>
            <a:t>Replace references from one server/database to the other</a:t>
          </a:r>
          <a:endParaRPr lang="en-US"/>
        </a:p>
      </dgm:t>
    </dgm:pt>
    <dgm:pt modelId="{B13F9310-66E9-49D0-8DD4-2BF9EA0F4D17}" type="parTrans" cxnId="{864D7D0F-4290-4F86-A4C5-3C3BF69737C8}">
      <dgm:prSet/>
      <dgm:spPr/>
      <dgm:t>
        <a:bodyPr/>
        <a:lstStyle/>
        <a:p>
          <a:endParaRPr lang="en-US"/>
        </a:p>
      </dgm:t>
    </dgm:pt>
    <dgm:pt modelId="{83628476-4FB9-4497-A76B-1904C4E404E4}" type="sibTrans" cxnId="{864D7D0F-4290-4F86-A4C5-3C3BF69737C8}">
      <dgm:prSet/>
      <dgm:spPr/>
      <dgm:t>
        <a:bodyPr/>
        <a:lstStyle/>
        <a:p>
          <a:endParaRPr lang="en-US"/>
        </a:p>
      </dgm:t>
    </dgm:pt>
    <dgm:pt modelId="{7971F7E3-4369-4906-AAA4-4384C7178959}">
      <dgm:prSet/>
      <dgm:spPr/>
      <dgm:t>
        <a:bodyPr/>
        <a:lstStyle/>
        <a:p>
          <a:r>
            <a:rPr lang="en-US" baseline="0"/>
            <a:t>Upload as new dashboard</a:t>
          </a:r>
          <a:endParaRPr lang="en-US"/>
        </a:p>
      </dgm:t>
    </dgm:pt>
    <dgm:pt modelId="{6E574A17-B175-47A8-872D-3160C83E7677}" type="parTrans" cxnId="{900B153C-A1AF-4434-B465-5A45C938EE7F}">
      <dgm:prSet/>
      <dgm:spPr/>
      <dgm:t>
        <a:bodyPr/>
        <a:lstStyle/>
        <a:p>
          <a:endParaRPr lang="en-US"/>
        </a:p>
      </dgm:t>
    </dgm:pt>
    <dgm:pt modelId="{259200DF-897E-4D54-89BB-119D9C40339D}" type="sibTrans" cxnId="{900B153C-A1AF-4434-B465-5A45C938EE7F}">
      <dgm:prSet/>
      <dgm:spPr/>
      <dgm:t>
        <a:bodyPr/>
        <a:lstStyle/>
        <a:p>
          <a:endParaRPr lang="en-US"/>
        </a:p>
      </dgm:t>
    </dgm:pt>
    <dgm:pt modelId="{5B4D4E75-5CC8-472E-A439-8A5040544AF8}" type="pres">
      <dgm:prSet presAssocID="{567FC218-FA99-44ED-BACD-CA75695A511B}" presName="linear" presStyleCnt="0">
        <dgm:presLayoutVars>
          <dgm:dir/>
          <dgm:animLvl val="lvl"/>
          <dgm:resizeHandles val="exact"/>
        </dgm:presLayoutVars>
      </dgm:prSet>
      <dgm:spPr/>
    </dgm:pt>
    <dgm:pt modelId="{E0930477-9867-44B8-919C-24E6CDB330FB}" type="pres">
      <dgm:prSet presAssocID="{FDB1FEE3-46E3-4774-AC93-2B12A2F5B1DA}" presName="parentLin" presStyleCnt="0"/>
      <dgm:spPr/>
    </dgm:pt>
    <dgm:pt modelId="{54118BF7-4A94-45C7-A1F0-DD985CD8BBEA}" type="pres">
      <dgm:prSet presAssocID="{FDB1FEE3-46E3-4774-AC93-2B12A2F5B1DA}" presName="parentLeftMargin" presStyleLbl="node1" presStyleIdx="0" presStyleCnt="4"/>
      <dgm:spPr/>
    </dgm:pt>
    <dgm:pt modelId="{0503A02E-5FEA-4B2B-A585-E6B0E09C813B}" type="pres">
      <dgm:prSet presAssocID="{FDB1FEE3-46E3-4774-AC93-2B12A2F5B1DA}" presName="parentText" presStyleLbl="node1" presStyleIdx="0" presStyleCnt="4">
        <dgm:presLayoutVars>
          <dgm:chMax val="0"/>
          <dgm:bulletEnabled val="1"/>
        </dgm:presLayoutVars>
      </dgm:prSet>
      <dgm:spPr/>
    </dgm:pt>
    <dgm:pt modelId="{A9A124E4-E2BB-4643-A9EC-98BD5495FAFE}" type="pres">
      <dgm:prSet presAssocID="{FDB1FEE3-46E3-4774-AC93-2B12A2F5B1DA}" presName="negativeSpace" presStyleCnt="0"/>
      <dgm:spPr/>
    </dgm:pt>
    <dgm:pt modelId="{B6349230-2313-45AF-81B1-C2AF503A5371}" type="pres">
      <dgm:prSet presAssocID="{FDB1FEE3-46E3-4774-AC93-2B12A2F5B1DA}" presName="childText" presStyleLbl="conFgAcc1" presStyleIdx="0" presStyleCnt="4">
        <dgm:presLayoutVars>
          <dgm:bulletEnabled val="1"/>
        </dgm:presLayoutVars>
      </dgm:prSet>
      <dgm:spPr/>
    </dgm:pt>
    <dgm:pt modelId="{0AA085E2-3400-4C09-8DDA-D505D74C4FC7}" type="pres">
      <dgm:prSet presAssocID="{BBF475A0-F70F-4A5E-A9A9-2F1E01CA410E}" presName="spaceBetweenRectangles" presStyleCnt="0"/>
      <dgm:spPr/>
    </dgm:pt>
    <dgm:pt modelId="{D6BEFA2F-9C25-4494-9444-9D7469B8C346}" type="pres">
      <dgm:prSet presAssocID="{DE0D0F4E-4D6A-4797-A0F8-D9AC53262211}" presName="parentLin" presStyleCnt="0"/>
      <dgm:spPr/>
    </dgm:pt>
    <dgm:pt modelId="{07637D73-267F-41FA-85AE-4D42203BB6AB}" type="pres">
      <dgm:prSet presAssocID="{DE0D0F4E-4D6A-4797-A0F8-D9AC53262211}" presName="parentLeftMargin" presStyleLbl="node1" presStyleIdx="0" presStyleCnt="4"/>
      <dgm:spPr/>
    </dgm:pt>
    <dgm:pt modelId="{572FD0F1-E10A-4611-B89E-82BF781D30EC}" type="pres">
      <dgm:prSet presAssocID="{DE0D0F4E-4D6A-4797-A0F8-D9AC53262211}" presName="parentText" presStyleLbl="node1" presStyleIdx="1" presStyleCnt="4">
        <dgm:presLayoutVars>
          <dgm:chMax val="0"/>
          <dgm:bulletEnabled val="1"/>
        </dgm:presLayoutVars>
      </dgm:prSet>
      <dgm:spPr/>
    </dgm:pt>
    <dgm:pt modelId="{1A8AD6CF-D54F-4A56-81BF-384B1CBAA253}" type="pres">
      <dgm:prSet presAssocID="{DE0D0F4E-4D6A-4797-A0F8-D9AC53262211}" presName="negativeSpace" presStyleCnt="0"/>
      <dgm:spPr/>
    </dgm:pt>
    <dgm:pt modelId="{5578B24C-2F28-4E2D-8F47-E81203706E5C}" type="pres">
      <dgm:prSet presAssocID="{DE0D0F4E-4D6A-4797-A0F8-D9AC53262211}" presName="childText" presStyleLbl="conFgAcc1" presStyleIdx="1" presStyleCnt="4">
        <dgm:presLayoutVars>
          <dgm:bulletEnabled val="1"/>
        </dgm:presLayoutVars>
      </dgm:prSet>
      <dgm:spPr/>
    </dgm:pt>
    <dgm:pt modelId="{6FD228E8-47A0-4675-B82F-4104AD3D4E09}" type="pres">
      <dgm:prSet presAssocID="{C80A6C4E-2893-4134-9104-24F1C9D3E094}" presName="spaceBetweenRectangles" presStyleCnt="0"/>
      <dgm:spPr/>
    </dgm:pt>
    <dgm:pt modelId="{FC320484-4EF2-4B09-9885-4966FECE6090}" type="pres">
      <dgm:prSet presAssocID="{5A449588-9A27-46AC-933F-0D284A255CE9}" presName="parentLin" presStyleCnt="0"/>
      <dgm:spPr/>
    </dgm:pt>
    <dgm:pt modelId="{1494101F-B94D-4C73-BB49-C9B0A8A2D532}" type="pres">
      <dgm:prSet presAssocID="{5A449588-9A27-46AC-933F-0D284A255CE9}" presName="parentLeftMargin" presStyleLbl="node1" presStyleIdx="1" presStyleCnt="4"/>
      <dgm:spPr/>
    </dgm:pt>
    <dgm:pt modelId="{1993639A-8217-4361-9C41-0C2F682E2B07}" type="pres">
      <dgm:prSet presAssocID="{5A449588-9A27-46AC-933F-0D284A255CE9}" presName="parentText" presStyleLbl="node1" presStyleIdx="2" presStyleCnt="4">
        <dgm:presLayoutVars>
          <dgm:chMax val="0"/>
          <dgm:bulletEnabled val="1"/>
        </dgm:presLayoutVars>
      </dgm:prSet>
      <dgm:spPr/>
    </dgm:pt>
    <dgm:pt modelId="{165F560C-64CE-4AFF-AA7A-18C0C4D2C1FC}" type="pres">
      <dgm:prSet presAssocID="{5A449588-9A27-46AC-933F-0D284A255CE9}" presName="negativeSpace" presStyleCnt="0"/>
      <dgm:spPr/>
    </dgm:pt>
    <dgm:pt modelId="{2C569307-1994-4D42-B431-6E2C13261F0A}" type="pres">
      <dgm:prSet presAssocID="{5A449588-9A27-46AC-933F-0D284A255CE9}" presName="childText" presStyleLbl="conFgAcc1" presStyleIdx="2" presStyleCnt="4">
        <dgm:presLayoutVars>
          <dgm:bulletEnabled val="1"/>
        </dgm:presLayoutVars>
      </dgm:prSet>
      <dgm:spPr/>
    </dgm:pt>
    <dgm:pt modelId="{F23B4B50-E2AE-483D-B50C-2CA29A2E004C}" type="pres">
      <dgm:prSet presAssocID="{D05A8AEE-8808-482A-ACC5-74664CED6E58}" presName="spaceBetweenRectangles" presStyleCnt="0"/>
      <dgm:spPr/>
    </dgm:pt>
    <dgm:pt modelId="{21C29E24-2471-455B-9A8D-72AEDF1E3E67}" type="pres">
      <dgm:prSet presAssocID="{2C327970-8850-410E-A46C-331E98152217}" presName="parentLin" presStyleCnt="0"/>
      <dgm:spPr/>
    </dgm:pt>
    <dgm:pt modelId="{11C0F2E0-C638-4590-958F-1CF04BAADF6F}" type="pres">
      <dgm:prSet presAssocID="{2C327970-8850-410E-A46C-331E98152217}" presName="parentLeftMargin" presStyleLbl="node1" presStyleIdx="2" presStyleCnt="4"/>
      <dgm:spPr/>
    </dgm:pt>
    <dgm:pt modelId="{09E63B06-7F12-4120-9380-278C60037885}" type="pres">
      <dgm:prSet presAssocID="{2C327970-8850-410E-A46C-331E98152217}" presName="parentText" presStyleLbl="node1" presStyleIdx="3" presStyleCnt="4">
        <dgm:presLayoutVars>
          <dgm:chMax val="0"/>
          <dgm:bulletEnabled val="1"/>
        </dgm:presLayoutVars>
      </dgm:prSet>
      <dgm:spPr/>
    </dgm:pt>
    <dgm:pt modelId="{651750F1-6117-4E65-9D2E-4283207B0B19}" type="pres">
      <dgm:prSet presAssocID="{2C327970-8850-410E-A46C-331E98152217}" presName="negativeSpace" presStyleCnt="0"/>
      <dgm:spPr/>
    </dgm:pt>
    <dgm:pt modelId="{2A93174C-7EA7-40BD-B27F-9D8CA23E163D}" type="pres">
      <dgm:prSet presAssocID="{2C327970-8850-410E-A46C-331E98152217}" presName="childText" presStyleLbl="conFgAcc1" presStyleIdx="3" presStyleCnt="4">
        <dgm:presLayoutVars>
          <dgm:bulletEnabled val="1"/>
        </dgm:presLayoutVars>
      </dgm:prSet>
      <dgm:spPr/>
    </dgm:pt>
  </dgm:ptLst>
  <dgm:cxnLst>
    <dgm:cxn modelId="{2C1D6100-BBA9-4BCA-9C96-A96654A5610D}" type="presOf" srcId="{C2D88445-FC24-4D87-AF20-6019793632C7}" destId="{5578B24C-2F28-4E2D-8F47-E81203706E5C}" srcOrd="0" destOrd="2" presId="urn:microsoft.com/office/officeart/2005/8/layout/list1"/>
    <dgm:cxn modelId="{C1756A01-BB51-4411-A600-85A71AB46832}" srcId="{2C327970-8850-410E-A46C-331E98152217}" destId="{D09A100C-A18B-4DCC-B351-88D52B445640}" srcOrd="0" destOrd="0" parTransId="{39C43BDE-19FD-4EB5-A1D2-7BD470AC1D48}" sibTransId="{3A590B0E-5C94-49F2-BA95-01EDC110B18C}"/>
    <dgm:cxn modelId="{864D7D0F-4290-4F86-A4C5-3C3BF69737C8}" srcId="{2C327970-8850-410E-A46C-331E98152217}" destId="{025E4E1A-F4EC-4FF5-B75A-61AB50CF1787}" srcOrd="1" destOrd="0" parTransId="{B13F9310-66E9-49D0-8DD4-2BF9EA0F4D17}" sibTransId="{83628476-4FB9-4497-A76B-1904C4E404E4}"/>
    <dgm:cxn modelId="{2FB71616-68AC-4273-9972-22311D474630}" srcId="{567FC218-FA99-44ED-BACD-CA75695A511B}" destId="{FDB1FEE3-46E3-4774-AC93-2B12A2F5B1DA}" srcOrd="0" destOrd="0" parTransId="{A13FE402-8292-421F-82BA-89074D730BDD}" sibTransId="{BBF475A0-F70F-4A5E-A9A9-2F1E01CA410E}"/>
    <dgm:cxn modelId="{F4D07717-57A5-411C-B3D5-D23AE1701C29}" type="presOf" srcId="{5A449588-9A27-46AC-933F-0D284A255CE9}" destId="{1993639A-8217-4361-9C41-0C2F682E2B07}" srcOrd="1" destOrd="0" presId="urn:microsoft.com/office/officeart/2005/8/layout/list1"/>
    <dgm:cxn modelId="{58D4EF26-4BE3-465E-AE3C-FA82F35517B5}" type="presOf" srcId="{FDB1FEE3-46E3-4774-AC93-2B12A2F5B1DA}" destId="{54118BF7-4A94-45C7-A1F0-DD985CD8BBEA}" srcOrd="0" destOrd="0" presId="urn:microsoft.com/office/officeart/2005/8/layout/list1"/>
    <dgm:cxn modelId="{900B153C-A1AF-4434-B465-5A45C938EE7F}" srcId="{2C327970-8850-410E-A46C-331E98152217}" destId="{7971F7E3-4369-4906-AAA4-4384C7178959}" srcOrd="2" destOrd="0" parTransId="{6E574A17-B175-47A8-872D-3160C83E7677}" sibTransId="{259200DF-897E-4D54-89BB-119D9C40339D}"/>
    <dgm:cxn modelId="{2D30E45B-B0A7-4051-AECF-45F80B0EF5B2}" srcId="{567FC218-FA99-44ED-BACD-CA75695A511B}" destId="{5A449588-9A27-46AC-933F-0D284A255CE9}" srcOrd="2" destOrd="0" parTransId="{FA8AE126-D730-49FE-9A81-461B756BBCDD}" sibTransId="{D05A8AEE-8808-482A-ACC5-74664CED6E58}"/>
    <dgm:cxn modelId="{7A5BD549-5B4D-4D3D-A6E7-27EE61693E61}" type="presOf" srcId="{D09A100C-A18B-4DCC-B351-88D52B445640}" destId="{2A93174C-7EA7-40BD-B27F-9D8CA23E163D}" srcOrd="0" destOrd="0" presId="urn:microsoft.com/office/officeart/2005/8/layout/list1"/>
    <dgm:cxn modelId="{7513FC50-7F29-4BB4-AA7A-8CCC415EB686}" srcId="{DE0D0F4E-4D6A-4797-A0F8-D9AC53262211}" destId="{C2D88445-FC24-4D87-AF20-6019793632C7}" srcOrd="2" destOrd="0" parTransId="{9C1C881A-D80B-48BB-81B7-9CF28FC8D897}" sibTransId="{27042163-8B20-4793-9B2C-7A8BC26B116A}"/>
    <dgm:cxn modelId="{B8BB6C51-0FBA-4713-8CF9-B2DCBF94E651}" type="presOf" srcId="{5A449588-9A27-46AC-933F-0D284A255CE9}" destId="{1494101F-B94D-4C73-BB49-C9B0A8A2D532}" srcOrd="0" destOrd="0" presId="urn:microsoft.com/office/officeart/2005/8/layout/list1"/>
    <dgm:cxn modelId="{090FD772-79F8-4343-8274-93DD66890B91}" type="presOf" srcId="{DE0D0F4E-4D6A-4797-A0F8-D9AC53262211}" destId="{572FD0F1-E10A-4611-B89E-82BF781D30EC}" srcOrd="1" destOrd="0" presId="urn:microsoft.com/office/officeart/2005/8/layout/list1"/>
    <dgm:cxn modelId="{93405055-637C-4D03-B118-66EDDCCA92B5}" type="presOf" srcId="{025E4E1A-F4EC-4FF5-B75A-61AB50CF1787}" destId="{2A93174C-7EA7-40BD-B27F-9D8CA23E163D}" srcOrd="0" destOrd="1" presId="urn:microsoft.com/office/officeart/2005/8/layout/list1"/>
    <dgm:cxn modelId="{DFFCBC75-DB4B-4C88-BBEE-54685BABC730}" type="presOf" srcId="{7971F7E3-4369-4906-AAA4-4384C7178959}" destId="{2A93174C-7EA7-40BD-B27F-9D8CA23E163D}" srcOrd="0" destOrd="2" presId="urn:microsoft.com/office/officeart/2005/8/layout/list1"/>
    <dgm:cxn modelId="{2F313F57-7708-4985-B3EB-7BC047D693FE}" srcId="{DE0D0F4E-4D6A-4797-A0F8-D9AC53262211}" destId="{2BEB751C-029F-478B-A433-12270BAE0294}" srcOrd="3" destOrd="0" parTransId="{9416DDB9-3C13-457A-8161-BD71C8747722}" sibTransId="{F5EE7803-DEAD-427C-9553-6A33DAE6A54D}"/>
    <dgm:cxn modelId="{A9D5AC91-4180-415F-B278-4AD35A177ADC}" type="presOf" srcId="{2BEB751C-029F-478B-A433-12270BAE0294}" destId="{5578B24C-2F28-4E2D-8F47-E81203706E5C}" srcOrd="0" destOrd="3" presId="urn:microsoft.com/office/officeart/2005/8/layout/list1"/>
    <dgm:cxn modelId="{C224DDA3-E14A-41F3-98FD-1E358BC5E288}" type="presOf" srcId="{2C327970-8850-410E-A46C-331E98152217}" destId="{09E63B06-7F12-4120-9380-278C60037885}" srcOrd="1" destOrd="0" presId="urn:microsoft.com/office/officeart/2005/8/layout/list1"/>
    <dgm:cxn modelId="{FABCB0B0-5D86-4594-B3CD-98C091473554}" type="presOf" srcId="{C1439C93-161F-4B60-BE0B-DE975CA8193E}" destId="{5578B24C-2F28-4E2D-8F47-E81203706E5C}" srcOrd="0" destOrd="0" presId="urn:microsoft.com/office/officeart/2005/8/layout/list1"/>
    <dgm:cxn modelId="{7B9174B6-11FA-4D91-AE23-46EA64E3FBB1}" type="presOf" srcId="{E02ABF5B-6FB0-46D1-96C6-029C60BCB4C4}" destId="{5578B24C-2F28-4E2D-8F47-E81203706E5C}" srcOrd="0" destOrd="1" presId="urn:microsoft.com/office/officeart/2005/8/layout/list1"/>
    <dgm:cxn modelId="{24DC9AC2-764A-4A0F-A50C-7661E01F2D1E}" type="presOf" srcId="{FDB1FEE3-46E3-4774-AC93-2B12A2F5B1DA}" destId="{0503A02E-5FEA-4B2B-A585-E6B0E09C813B}" srcOrd="1" destOrd="0" presId="urn:microsoft.com/office/officeart/2005/8/layout/list1"/>
    <dgm:cxn modelId="{A9ABDCCE-D315-46CC-B510-63541719D71B}" srcId="{DE0D0F4E-4D6A-4797-A0F8-D9AC53262211}" destId="{E02ABF5B-6FB0-46D1-96C6-029C60BCB4C4}" srcOrd="1" destOrd="0" parTransId="{A22DACCA-72FB-4D8D-ADD5-733D90F84EC2}" sibTransId="{DDBB9E1A-EF19-4A5D-A0BF-AF73F724D1E5}"/>
    <dgm:cxn modelId="{961EBFCF-1209-46BB-AAF1-C86A3C9ADBAA}" type="presOf" srcId="{DE0D0F4E-4D6A-4797-A0F8-D9AC53262211}" destId="{07637D73-267F-41FA-85AE-4D42203BB6AB}" srcOrd="0" destOrd="0" presId="urn:microsoft.com/office/officeart/2005/8/layout/list1"/>
    <dgm:cxn modelId="{27F6C1D3-0923-4242-BD04-149A0D538710}" type="presOf" srcId="{567FC218-FA99-44ED-BACD-CA75695A511B}" destId="{5B4D4E75-5CC8-472E-A439-8A5040544AF8}" srcOrd="0" destOrd="0" presId="urn:microsoft.com/office/officeart/2005/8/layout/list1"/>
    <dgm:cxn modelId="{C8DC34E0-7419-4B22-9909-A0B5C9505EF4}" srcId="{567FC218-FA99-44ED-BACD-CA75695A511B}" destId="{DE0D0F4E-4D6A-4797-A0F8-D9AC53262211}" srcOrd="1" destOrd="0" parTransId="{0819A93A-69A8-4A02-8B40-AFCB45057E29}" sibTransId="{C80A6C4E-2893-4134-9104-24F1C9D3E094}"/>
    <dgm:cxn modelId="{4C241BE1-F2F0-4585-934C-49047168172D}" type="presOf" srcId="{2C327970-8850-410E-A46C-331E98152217}" destId="{11C0F2E0-C638-4590-958F-1CF04BAADF6F}" srcOrd="0" destOrd="0" presId="urn:microsoft.com/office/officeart/2005/8/layout/list1"/>
    <dgm:cxn modelId="{F7D38AE3-EE9E-4B5F-9931-07DDC0C4C311}" srcId="{DE0D0F4E-4D6A-4797-A0F8-D9AC53262211}" destId="{C1439C93-161F-4B60-BE0B-DE975CA8193E}" srcOrd="0" destOrd="0" parTransId="{8B3728AA-2558-4B4C-955E-B1CC51267532}" sibTransId="{0113E692-4C89-4A83-A16E-295CD588C4A9}"/>
    <dgm:cxn modelId="{EB7618E6-88BF-46B3-ABB6-44D132EA284D}" srcId="{567FC218-FA99-44ED-BACD-CA75695A511B}" destId="{2C327970-8850-410E-A46C-331E98152217}" srcOrd="3" destOrd="0" parTransId="{01107F4C-5D75-47D3-A5B1-D83350715F43}" sibTransId="{B5A6FE90-4EFD-4F77-A0CF-979C4A6AC96B}"/>
    <dgm:cxn modelId="{8D1E032F-69BC-4EF0-B8D2-628FEDFDCB03}" type="presParOf" srcId="{5B4D4E75-5CC8-472E-A439-8A5040544AF8}" destId="{E0930477-9867-44B8-919C-24E6CDB330FB}" srcOrd="0" destOrd="0" presId="urn:microsoft.com/office/officeart/2005/8/layout/list1"/>
    <dgm:cxn modelId="{BF35EEBD-68D7-45DB-BF43-2C111A31DA99}" type="presParOf" srcId="{E0930477-9867-44B8-919C-24E6CDB330FB}" destId="{54118BF7-4A94-45C7-A1F0-DD985CD8BBEA}" srcOrd="0" destOrd="0" presId="urn:microsoft.com/office/officeart/2005/8/layout/list1"/>
    <dgm:cxn modelId="{3668658C-7ED4-4D07-A1B1-00AB447045E5}" type="presParOf" srcId="{E0930477-9867-44B8-919C-24E6CDB330FB}" destId="{0503A02E-5FEA-4B2B-A585-E6B0E09C813B}" srcOrd="1" destOrd="0" presId="urn:microsoft.com/office/officeart/2005/8/layout/list1"/>
    <dgm:cxn modelId="{6CF98016-C027-427D-84CD-DC3823A57120}" type="presParOf" srcId="{5B4D4E75-5CC8-472E-A439-8A5040544AF8}" destId="{A9A124E4-E2BB-4643-A9EC-98BD5495FAFE}" srcOrd="1" destOrd="0" presId="urn:microsoft.com/office/officeart/2005/8/layout/list1"/>
    <dgm:cxn modelId="{76E05951-BCBA-4582-99D7-B7FD86211471}" type="presParOf" srcId="{5B4D4E75-5CC8-472E-A439-8A5040544AF8}" destId="{B6349230-2313-45AF-81B1-C2AF503A5371}" srcOrd="2" destOrd="0" presId="urn:microsoft.com/office/officeart/2005/8/layout/list1"/>
    <dgm:cxn modelId="{47F81599-1133-4E5E-8A43-B50E538D7066}" type="presParOf" srcId="{5B4D4E75-5CC8-472E-A439-8A5040544AF8}" destId="{0AA085E2-3400-4C09-8DDA-D505D74C4FC7}" srcOrd="3" destOrd="0" presId="urn:microsoft.com/office/officeart/2005/8/layout/list1"/>
    <dgm:cxn modelId="{BAEEB362-C20E-4B86-A09D-0A2423326A8D}" type="presParOf" srcId="{5B4D4E75-5CC8-472E-A439-8A5040544AF8}" destId="{D6BEFA2F-9C25-4494-9444-9D7469B8C346}" srcOrd="4" destOrd="0" presId="urn:microsoft.com/office/officeart/2005/8/layout/list1"/>
    <dgm:cxn modelId="{A340B3E4-269E-4669-976F-261DE1F83EE9}" type="presParOf" srcId="{D6BEFA2F-9C25-4494-9444-9D7469B8C346}" destId="{07637D73-267F-41FA-85AE-4D42203BB6AB}" srcOrd="0" destOrd="0" presId="urn:microsoft.com/office/officeart/2005/8/layout/list1"/>
    <dgm:cxn modelId="{D0D0BD3D-7903-4B84-80CA-CF05F021F07A}" type="presParOf" srcId="{D6BEFA2F-9C25-4494-9444-9D7469B8C346}" destId="{572FD0F1-E10A-4611-B89E-82BF781D30EC}" srcOrd="1" destOrd="0" presId="urn:microsoft.com/office/officeart/2005/8/layout/list1"/>
    <dgm:cxn modelId="{A0E0D179-9BC0-474F-AED6-4304E077201C}" type="presParOf" srcId="{5B4D4E75-5CC8-472E-A439-8A5040544AF8}" destId="{1A8AD6CF-D54F-4A56-81BF-384B1CBAA253}" srcOrd="5" destOrd="0" presId="urn:microsoft.com/office/officeart/2005/8/layout/list1"/>
    <dgm:cxn modelId="{6B7B9F21-865B-49D6-9864-959FE8CCDD45}" type="presParOf" srcId="{5B4D4E75-5CC8-472E-A439-8A5040544AF8}" destId="{5578B24C-2F28-4E2D-8F47-E81203706E5C}" srcOrd="6" destOrd="0" presId="urn:microsoft.com/office/officeart/2005/8/layout/list1"/>
    <dgm:cxn modelId="{3B1BA745-0E02-40A3-B8B6-AA466BE7B068}" type="presParOf" srcId="{5B4D4E75-5CC8-472E-A439-8A5040544AF8}" destId="{6FD228E8-47A0-4675-B82F-4104AD3D4E09}" srcOrd="7" destOrd="0" presId="urn:microsoft.com/office/officeart/2005/8/layout/list1"/>
    <dgm:cxn modelId="{35B5A9C3-7908-44E6-9833-AD44145EFA7C}" type="presParOf" srcId="{5B4D4E75-5CC8-472E-A439-8A5040544AF8}" destId="{FC320484-4EF2-4B09-9885-4966FECE6090}" srcOrd="8" destOrd="0" presId="urn:microsoft.com/office/officeart/2005/8/layout/list1"/>
    <dgm:cxn modelId="{F42B928F-2A1C-4327-B5FB-F5FA9DC8FDA1}" type="presParOf" srcId="{FC320484-4EF2-4B09-9885-4966FECE6090}" destId="{1494101F-B94D-4C73-BB49-C9B0A8A2D532}" srcOrd="0" destOrd="0" presId="urn:microsoft.com/office/officeart/2005/8/layout/list1"/>
    <dgm:cxn modelId="{20956C0F-66DC-4FE1-8871-EBEFFDF3600A}" type="presParOf" srcId="{FC320484-4EF2-4B09-9885-4966FECE6090}" destId="{1993639A-8217-4361-9C41-0C2F682E2B07}" srcOrd="1" destOrd="0" presId="urn:microsoft.com/office/officeart/2005/8/layout/list1"/>
    <dgm:cxn modelId="{DEC2F54C-4CD0-40A4-8532-B38DC94037E2}" type="presParOf" srcId="{5B4D4E75-5CC8-472E-A439-8A5040544AF8}" destId="{165F560C-64CE-4AFF-AA7A-18C0C4D2C1FC}" srcOrd="9" destOrd="0" presId="urn:microsoft.com/office/officeart/2005/8/layout/list1"/>
    <dgm:cxn modelId="{BEFF7416-F448-446B-A27D-545451809992}" type="presParOf" srcId="{5B4D4E75-5CC8-472E-A439-8A5040544AF8}" destId="{2C569307-1994-4D42-B431-6E2C13261F0A}" srcOrd="10" destOrd="0" presId="urn:microsoft.com/office/officeart/2005/8/layout/list1"/>
    <dgm:cxn modelId="{40BF3F8A-6E6F-4700-B01A-0955E072A78D}" type="presParOf" srcId="{5B4D4E75-5CC8-472E-A439-8A5040544AF8}" destId="{F23B4B50-E2AE-483D-B50C-2CA29A2E004C}" srcOrd="11" destOrd="0" presId="urn:microsoft.com/office/officeart/2005/8/layout/list1"/>
    <dgm:cxn modelId="{9FADF738-CE40-49E1-80D4-A6AFA81E158B}" type="presParOf" srcId="{5B4D4E75-5CC8-472E-A439-8A5040544AF8}" destId="{21C29E24-2471-455B-9A8D-72AEDF1E3E67}" srcOrd="12" destOrd="0" presId="urn:microsoft.com/office/officeart/2005/8/layout/list1"/>
    <dgm:cxn modelId="{EA3E966C-4536-4672-810A-CE22DBB4001F}" type="presParOf" srcId="{21C29E24-2471-455B-9A8D-72AEDF1E3E67}" destId="{11C0F2E0-C638-4590-958F-1CF04BAADF6F}" srcOrd="0" destOrd="0" presId="urn:microsoft.com/office/officeart/2005/8/layout/list1"/>
    <dgm:cxn modelId="{FD4A8CFA-1392-46BF-A133-6A6809341991}" type="presParOf" srcId="{21C29E24-2471-455B-9A8D-72AEDF1E3E67}" destId="{09E63B06-7F12-4120-9380-278C60037885}" srcOrd="1" destOrd="0" presId="urn:microsoft.com/office/officeart/2005/8/layout/list1"/>
    <dgm:cxn modelId="{B42FE24E-887B-41D3-AE39-11C4B47C30D7}" type="presParOf" srcId="{5B4D4E75-5CC8-472E-A439-8A5040544AF8}" destId="{651750F1-6117-4E65-9D2E-4283207B0B19}" srcOrd="13" destOrd="0" presId="urn:microsoft.com/office/officeart/2005/8/layout/list1"/>
    <dgm:cxn modelId="{53B5F2BC-0F76-46DE-8FC0-5FBED109F987}" type="presParOf" srcId="{5B4D4E75-5CC8-472E-A439-8A5040544AF8}" destId="{2A93174C-7EA7-40BD-B27F-9D8CA23E163D}"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3EA5C39-225E-48C8-A907-FB2EA6359C47}" type="doc">
      <dgm:prSet loTypeId="urn:microsoft.com/office/officeart/2005/8/layout/lProcess3" loCatId="process" qsTypeId="urn:microsoft.com/office/officeart/2005/8/quickstyle/simple1" qsCatId="simple" csTypeId="urn:microsoft.com/office/officeart/2005/8/colors/accent0_3" csCatId="mainScheme" phldr="1"/>
      <dgm:spPr/>
      <dgm:t>
        <a:bodyPr/>
        <a:lstStyle/>
        <a:p>
          <a:endParaRPr lang="en-US"/>
        </a:p>
      </dgm:t>
    </dgm:pt>
    <dgm:pt modelId="{A4021F5A-CBFA-491F-936E-E769FE0C4624}">
      <dgm:prSet/>
      <dgm:spPr/>
      <dgm:t>
        <a:bodyPr/>
        <a:lstStyle/>
        <a:p>
          <a:r>
            <a:rPr lang="en-US" baseline="0"/>
            <a:t>High TempDB usage</a:t>
          </a:r>
          <a:endParaRPr lang="en-US"/>
        </a:p>
      </dgm:t>
    </dgm:pt>
    <dgm:pt modelId="{D63351F8-4EFE-422F-8D63-4A5BDD1984ED}" type="parTrans" cxnId="{3C6A1E11-E76C-4BFF-B60E-6934EFEE169A}">
      <dgm:prSet/>
      <dgm:spPr/>
      <dgm:t>
        <a:bodyPr/>
        <a:lstStyle/>
        <a:p>
          <a:endParaRPr lang="en-US"/>
        </a:p>
      </dgm:t>
    </dgm:pt>
    <dgm:pt modelId="{9EAEEDBE-7F10-4738-AE02-4490C1665737}" type="sibTrans" cxnId="{3C6A1E11-E76C-4BFF-B60E-6934EFEE169A}">
      <dgm:prSet/>
      <dgm:spPr/>
      <dgm:t>
        <a:bodyPr/>
        <a:lstStyle/>
        <a:p>
          <a:endParaRPr lang="en-US"/>
        </a:p>
      </dgm:t>
    </dgm:pt>
    <dgm:pt modelId="{2C0A6D22-4850-4044-BE56-CA0931CB741B}">
      <dgm:prSet/>
      <dgm:spPr/>
      <dgm:t>
        <a:bodyPr/>
        <a:lstStyle/>
        <a:p>
          <a:r>
            <a:rPr lang="en-US" baseline="0"/>
            <a:t>Optimize queries with excessive data movement</a:t>
          </a:r>
          <a:endParaRPr lang="en-US"/>
        </a:p>
      </dgm:t>
    </dgm:pt>
    <dgm:pt modelId="{AA66451C-C4C3-4435-954A-64412BE82A9D}" type="parTrans" cxnId="{400755D5-1502-46B5-A759-AD0000393855}">
      <dgm:prSet/>
      <dgm:spPr/>
      <dgm:t>
        <a:bodyPr/>
        <a:lstStyle/>
        <a:p>
          <a:endParaRPr lang="en-US"/>
        </a:p>
      </dgm:t>
    </dgm:pt>
    <dgm:pt modelId="{36889D10-6481-4943-8C06-31D9CFCD59FC}" type="sibTrans" cxnId="{400755D5-1502-46B5-A759-AD0000393855}">
      <dgm:prSet/>
      <dgm:spPr/>
      <dgm:t>
        <a:bodyPr/>
        <a:lstStyle/>
        <a:p>
          <a:endParaRPr lang="en-US"/>
        </a:p>
      </dgm:t>
    </dgm:pt>
    <dgm:pt modelId="{2BB1C005-3DAA-407D-AA7F-564AFB68468C}">
      <dgm:prSet/>
      <dgm:spPr/>
      <dgm:t>
        <a:bodyPr/>
        <a:lstStyle/>
        <a:p>
          <a:r>
            <a:rPr lang="en-US" baseline="0"/>
            <a:t>High CPU usage</a:t>
          </a:r>
          <a:endParaRPr lang="en-US"/>
        </a:p>
      </dgm:t>
    </dgm:pt>
    <dgm:pt modelId="{BF2CEE00-A25E-4403-96C9-890DD2137FE8}" type="parTrans" cxnId="{A5446E64-8C31-4596-85DA-4B1831D780B5}">
      <dgm:prSet/>
      <dgm:spPr/>
      <dgm:t>
        <a:bodyPr/>
        <a:lstStyle/>
        <a:p>
          <a:endParaRPr lang="en-US"/>
        </a:p>
      </dgm:t>
    </dgm:pt>
    <dgm:pt modelId="{D007C387-43A2-4F72-85CC-92BCE77E0E64}" type="sibTrans" cxnId="{A5446E64-8C31-4596-85DA-4B1831D780B5}">
      <dgm:prSet/>
      <dgm:spPr/>
      <dgm:t>
        <a:bodyPr/>
        <a:lstStyle/>
        <a:p>
          <a:endParaRPr lang="en-US"/>
        </a:p>
      </dgm:t>
    </dgm:pt>
    <dgm:pt modelId="{718C5D98-2063-4C13-98F9-6CE5A5D62F45}">
      <dgm:prSet/>
      <dgm:spPr/>
      <dgm:t>
        <a:bodyPr/>
        <a:lstStyle/>
        <a:p>
          <a:r>
            <a:rPr lang="en-US" baseline="0"/>
            <a:t>Optimize CPU-Intensive queries</a:t>
          </a:r>
          <a:endParaRPr lang="en-US"/>
        </a:p>
      </dgm:t>
    </dgm:pt>
    <dgm:pt modelId="{167FE46D-D885-4540-BBB6-60DAAE723EB3}" type="parTrans" cxnId="{AC2C997C-8F96-48A2-AC2E-7E8285531C7F}">
      <dgm:prSet/>
      <dgm:spPr/>
      <dgm:t>
        <a:bodyPr/>
        <a:lstStyle/>
        <a:p>
          <a:endParaRPr lang="en-US"/>
        </a:p>
      </dgm:t>
    </dgm:pt>
    <dgm:pt modelId="{19E4E54D-3CDE-44CF-B8BA-C4DD23EA284E}" type="sibTrans" cxnId="{AC2C997C-8F96-48A2-AC2E-7E8285531C7F}">
      <dgm:prSet/>
      <dgm:spPr/>
      <dgm:t>
        <a:bodyPr/>
        <a:lstStyle/>
        <a:p>
          <a:endParaRPr lang="en-US"/>
        </a:p>
      </dgm:t>
    </dgm:pt>
    <dgm:pt modelId="{F1530348-784B-4EB2-B13D-5936A026AFCF}">
      <dgm:prSet/>
      <dgm:spPr/>
      <dgm:t>
        <a:bodyPr/>
        <a:lstStyle/>
        <a:p>
          <a:r>
            <a:rPr lang="en-US" baseline="0"/>
            <a:t>Excessive query queueing</a:t>
          </a:r>
          <a:endParaRPr lang="en-US"/>
        </a:p>
      </dgm:t>
    </dgm:pt>
    <dgm:pt modelId="{80A07204-DAA0-48FE-B92F-FA0765D2C388}" type="parTrans" cxnId="{1A4E51FF-7E5B-4DB6-ADE0-8785398E9314}">
      <dgm:prSet/>
      <dgm:spPr/>
      <dgm:t>
        <a:bodyPr/>
        <a:lstStyle/>
        <a:p>
          <a:endParaRPr lang="en-US"/>
        </a:p>
      </dgm:t>
    </dgm:pt>
    <dgm:pt modelId="{DB84ED1C-B934-4E80-AF98-E4BE4A8ADC6A}" type="sibTrans" cxnId="{1A4E51FF-7E5B-4DB6-ADE0-8785398E9314}">
      <dgm:prSet/>
      <dgm:spPr/>
      <dgm:t>
        <a:bodyPr/>
        <a:lstStyle/>
        <a:p>
          <a:endParaRPr lang="en-US"/>
        </a:p>
      </dgm:t>
    </dgm:pt>
    <dgm:pt modelId="{311520CA-4866-4FED-A941-8B930B1E767F}">
      <dgm:prSet/>
      <dgm:spPr/>
      <dgm:t>
        <a:bodyPr/>
        <a:lstStyle/>
        <a:p>
          <a:r>
            <a:rPr lang="en-US" baseline="0"/>
            <a:t>Optimize workload management configuration</a:t>
          </a:r>
          <a:endParaRPr lang="en-US"/>
        </a:p>
      </dgm:t>
    </dgm:pt>
    <dgm:pt modelId="{4E274C75-9E3B-4863-8A30-74ADDD33D640}" type="parTrans" cxnId="{E43589B0-8911-4EA9-8B72-2C9E414EC6F4}">
      <dgm:prSet/>
      <dgm:spPr/>
      <dgm:t>
        <a:bodyPr/>
        <a:lstStyle/>
        <a:p>
          <a:endParaRPr lang="en-US"/>
        </a:p>
      </dgm:t>
    </dgm:pt>
    <dgm:pt modelId="{046FC9C4-E020-41DD-A275-FADF431D17E6}" type="sibTrans" cxnId="{E43589B0-8911-4EA9-8B72-2C9E414EC6F4}">
      <dgm:prSet/>
      <dgm:spPr/>
      <dgm:t>
        <a:bodyPr/>
        <a:lstStyle/>
        <a:p>
          <a:endParaRPr lang="en-US"/>
        </a:p>
      </dgm:t>
    </dgm:pt>
    <dgm:pt modelId="{EC9CEF5C-F22D-4FF3-AD5A-6CB6BEF120D1}">
      <dgm:prSet/>
      <dgm:spPr/>
      <dgm:t>
        <a:bodyPr/>
        <a:lstStyle/>
        <a:p>
          <a:r>
            <a:rPr lang="en-US" baseline="0"/>
            <a:t>High Data IO %</a:t>
          </a:r>
          <a:endParaRPr lang="en-US"/>
        </a:p>
      </dgm:t>
    </dgm:pt>
    <dgm:pt modelId="{00C38039-95F5-48BB-BAE9-ED806F226622}" type="parTrans" cxnId="{28CE7044-FA4F-446A-9297-56D26FA18D48}">
      <dgm:prSet/>
      <dgm:spPr/>
      <dgm:t>
        <a:bodyPr/>
        <a:lstStyle/>
        <a:p>
          <a:endParaRPr lang="en-US"/>
        </a:p>
      </dgm:t>
    </dgm:pt>
    <dgm:pt modelId="{D0C2B69F-B54A-4050-93A1-4D002971439F}" type="sibTrans" cxnId="{28CE7044-FA4F-446A-9297-56D26FA18D48}">
      <dgm:prSet/>
      <dgm:spPr/>
      <dgm:t>
        <a:bodyPr/>
        <a:lstStyle/>
        <a:p>
          <a:endParaRPr lang="en-US"/>
        </a:p>
      </dgm:t>
    </dgm:pt>
    <dgm:pt modelId="{0CC9CE06-89E6-4107-AE91-09D1D8078C51}">
      <dgm:prSet/>
      <dgm:spPr/>
      <dgm:t>
        <a:bodyPr/>
        <a:lstStyle/>
        <a:p>
          <a:r>
            <a:rPr lang="en-US" baseline="0"/>
            <a:t>Spread out workload or minimize reads/writes</a:t>
          </a:r>
          <a:endParaRPr lang="en-US"/>
        </a:p>
      </dgm:t>
    </dgm:pt>
    <dgm:pt modelId="{5F6A3032-7BAD-4781-868D-1E7580DDA655}" type="parTrans" cxnId="{692D962F-899B-47F9-B8A9-2AAD54CD93C2}">
      <dgm:prSet/>
      <dgm:spPr/>
      <dgm:t>
        <a:bodyPr/>
        <a:lstStyle/>
        <a:p>
          <a:endParaRPr lang="en-US"/>
        </a:p>
      </dgm:t>
    </dgm:pt>
    <dgm:pt modelId="{464EED3B-CF8E-4A30-9C29-6D557F83709B}" type="sibTrans" cxnId="{692D962F-899B-47F9-B8A9-2AAD54CD93C2}">
      <dgm:prSet/>
      <dgm:spPr/>
      <dgm:t>
        <a:bodyPr/>
        <a:lstStyle/>
        <a:p>
          <a:endParaRPr lang="en-US"/>
        </a:p>
      </dgm:t>
    </dgm:pt>
    <dgm:pt modelId="{8A0FDB3E-AAF6-448F-9E8A-BCC47DC8C935}">
      <dgm:prSet/>
      <dgm:spPr/>
      <dgm:t>
        <a:bodyPr/>
        <a:lstStyle/>
        <a:p>
          <a:r>
            <a:rPr lang="en-US" baseline="0"/>
            <a:t>Rows moved by query step</a:t>
          </a:r>
          <a:endParaRPr lang="en-US"/>
        </a:p>
      </dgm:t>
    </dgm:pt>
    <dgm:pt modelId="{89E0F5D1-BD09-47B7-99EE-995393A7A87B}" type="parTrans" cxnId="{2FDB29E2-6AB3-4ACE-ACB1-7F4CAE6717A7}">
      <dgm:prSet/>
      <dgm:spPr/>
      <dgm:t>
        <a:bodyPr/>
        <a:lstStyle/>
        <a:p>
          <a:endParaRPr lang="en-US"/>
        </a:p>
      </dgm:t>
    </dgm:pt>
    <dgm:pt modelId="{6542D1D9-1A0B-42DE-9594-3AD1FA98AB3E}" type="sibTrans" cxnId="{2FDB29E2-6AB3-4ACE-ACB1-7F4CAE6717A7}">
      <dgm:prSet/>
      <dgm:spPr/>
      <dgm:t>
        <a:bodyPr/>
        <a:lstStyle/>
        <a:p>
          <a:endParaRPr lang="en-US"/>
        </a:p>
      </dgm:t>
    </dgm:pt>
    <dgm:pt modelId="{CD337033-173C-4DE4-9D47-8E8225CDF574}">
      <dgm:prSet/>
      <dgm:spPr/>
      <dgm:t>
        <a:bodyPr/>
        <a:lstStyle/>
        <a:p>
          <a:r>
            <a:rPr lang="en-US" baseline="0"/>
            <a:t>Optimize queries with excessive data movement</a:t>
          </a:r>
          <a:endParaRPr lang="en-US"/>
        </a:p>
      </dgm:t>
    </dgm:pt>
    <dgm:pt modelId="{F6CBBC0F-6B4F-4202-B201-405C3804CA3B}" type="parTrans" cxnId="{2CD78DB4-09F5-4329-AD7B-30A96FF9DE2D}">
      <dgm:prSet/>
      <dgm:spPr/>
      <dgm:t>
        <a:bodyPr/>
        <a:lstStyle/>
        <a:p>
          <a:endParaRPr lang="en-US"/>
        </a:p>
      </dgm:t>
    </dgm:pt>
    <dgm:pt modelId="{6DA30905-42DE-4BE7-86FE-9FB6E567491D}" type="sibTrans" cxnId="{2CD78DB4-09F5-4329-AD7B-30A96FF9DE2D}">
      <dgm:prSet/>
      <dgm:spPr/>
      <dgm:t>
        <a:bodyPr/>
        <a:lstStyle/>
        <a:p>
          <a:endParaRPr lang="en-US"/>
        </a:p>
      </dgm:t>
    </dgm:pt>
    <dgm:pt modelId="{75A40C51-BC84-4FBB-AE16-8CA6E9009619}">
      <dgm:prSet/>
      <dgm:spPr/>
      <dgm:t>
        <a:bodyPr/>
        <a:lstStyle/>
        <a:p>
          <a:r>
            <a:rPr lang="en-US" baseline="0"/>
            <a:t>Rows processed by requestID</a:t>
          </a:r>
          <a:endParaRPr lang="en-US"/>
        </a:p>
      </dgm:t>
    </dgm:pt>
    <dgm:pt modelId="{A95770E8-B257-4F41-8C4F-71A243BDBE94}" type="parTrans" cxnId="{52822C75-BF9E-4167-9600-864CDB93C3E2}">
      <dgm:prSet/>
      <dgm:spPr/>
      <dgm:t>
        <a:bodyPr/>
        <a:lstStyle/>
        <a:p>
          <a:endParaRPr lang="en-US"/>
        </a:p>
      </dgm:t>
    </dgm:pt>
    <dgm:pt modelId="{EC55E21A-A414-4904-9018-0F5C5EE473E8}" type="sibTrans" cxnId="{52822C75-BF9E-4167-9600-864CDB93C3E2}">
      <dgm:prSet/>
      <dgm:spPr/>
      <dgm:t>
        <a:bodyPr/>
        <a:lstStyle/>
        <a:p>
          <a:endParaRPr lang="en-US"/>
        </a:p>
      </dgm:t>
    </dgm:pt>
    <dgm:pt modelId="{1200DB9C-C934-4389-B62D-0B42E0276129}">
      <dgm:prSet/>
      <dgm:spPr/>
      <dgm:t>
        <a:bodyPr/>
        <a:lstStyle/>
        <a:p>
          <a:r>
            <a:rPr lang="en-US" baseline="0"/>
            <a:t>Optimize Queries with many large data movement steps</a:t>
          </a:r>
          <a:endParaRPr lang="en-US"/>
        </a:p>
      </dgm:t>
    </dgm:pt>
    <dgm:pt modelId="{7FFA6777-3FA5-4E92-AC89-3ABE91DDF50C}" type="parTrans" cxnId="{A7056B37-E54A-4227-9636-312B97631E11}">
      <dgm:prSet/>
      <dgm:spPr/>
      <dgm:t>
        <a:bodyPr/>
        <a:lstStyle/>
        <a:p>
          <a:endParaRPr lang="en-US"/>
        </a:p>
      </dgm:t>
    </dgm:pt>
    <dgm:pt modelId="{A1CFD811-D953-4244-8653-025F3D138808}" type="sibTrans" cxnId="{A7056B37-E54A-4227-9636-312B97631E11}">
      <dgm:prSet/>
      <dgm:spPr/>
      <dgm:t>
        <a:bodyPr/>
        <a:lstStyle/>
        <a:p>
          <a:endParaRPr lang="en-US"/>
        </a:p>
      </dgm:t>
    </dgm:pt>
    <dgm:pt modelId="{6EF19209-4D6E-4F3F-8960-B01A084584C6}">
      <dgm:prSet/>
      <dgm:spPr/>
      <dgm:t>
        <a:bodyPr/>
        <a:lstStyle/>
        <a:p>
          <a:r>
            <a:rPr lang="en-US" baseline="0"/>
            <a:t>BuildReplicatedTableCache</a:t>
          </a:r>
          <a:endParaRPr lang="en-US"/>
        </a:p>
      </dgm:t>
    </dgm:pt>
    <dgm:pt modelId="{8C44DEB6-A233-483C-B5E8-087EFBBEFA87}" type="parTrans" cxnId="{3F97EC0F-7F47-4996-9A8B-F7BB943215D9}">
      <dgm:prSet/>
      <dgm:spPr/>
      <dgm:t>
        <a:bodyPr/>
        <a:lstStyle/>
        <a:p>
          <a:endParaRPr lang="en-US"/>
        </a:p>
      </dgm:t>
    </dgm:pt>
    <dgm:pt modelId="{1477D851-05D5-47B3-9E43-E414D0A1BC9F}" type="sibTrans" cxnId="{3F97EC0F-7F47-4996-9A8B-F7BB943215D9}">
      <dgm:prSet/>
      <dgm:spPr/>
      <dgm:t>
        <a:bodyPr/>
        <a:lstStyle/>
        <a:p>
          <a:endParaRPr lang="en-US"/>
        </a:p>
      </dgm:t>
    </dgm:pt>
    <dgm:pt modelId="{400773BC-9A23-434C-9FD7-37ADF94391FB}">
      <dgm:prSet/>
      <dgm:spPr/>
      <dgm:t>
        <a:bodyPr/>
        <a:lstStyle/>
        <a:p>
          <a:r>
            <a:rPr lang="en-US" baseline="0"/>
            <a:t>Check sizes of Replicated Tables</a:t>
          </a:r>
          <a:endParaRPr lang="en-US"/>
        </a:p>
      </dgm:t>
    </dgm:pt>
    <dgm:pt modelId="{67076C05-5C64-4E0A-82C8-BD4D663BED4B}" type="parTrans" cxnId="{0879CFC4-9421-466D-8D70-CCC20977C767}">
      <dgm:prSet/>
      <dgm:spPr/>
      <dgm:t>
        <a:bodyPr/>
        <a:lstStyle/>
        <a:p>
          <a:endParaRPr lang="en-US"/>
        </a:p>
      </dgm:t>
    </dgm:pt>
    <dgm:pt modelId="{A6E80244-7451-442B-91FF-1DCC11F1E934}" type="sibTrans" cxnId="{0879CFC4-9421-466D-8D70-CCC20977C767}">
      <dgm:prSet/>
      <dgm:spPr/>
      <dgm:t>
        <a:bodyPr/>
        <a:lstStyle/>
        <a:p>
          <a:endParaRPr lang="en-US"/>
        </a:p>
      </dgm:t>
    </dgm:pt>
    <dgm:pt modelId="{95138D86-6112-4773-924A-9D7D533F79E7}">
      <dgm:prSet/>
      <dgm:spPr/>
      <dgm:t>
        <a:bodyPr/>
        <a:lstStyle/>
        <a:p>
          <a:r>
            <a:rPr lang="en-US" baseline="0"/>
            <a:t>Cache Usage</a:t>
          </a:r>
          <a:endParaRPr lang="en-US"/>
        </a:p>
      </dgm:t>
    </dgm:pt>
    <dgm:pt modelId="{EA3797DA-17A6-493A-B745-D0403B0948B9}" type="parTrans" cxnId="{99730F07-102E-4BE9-90E6-BC908B96B9E8}">
      <dgm:prSet/>
      <dgm:spPr/>
      <dgm:t>
        <a:bodyPr/>
        <a:lstStyle/>
        <a:p>
          <a:endParaRPr lang="en-US"/>
        </a:p>
      </dgm:t>
    </dgm:pt>
    <dgm:pt modelId="{232FDA62-45F1-4873-8206-E3326E506475}" type="sibTrans" cxnId="{99730F07-102E-4BE9-90E6-BC908B96B9E8}">
      <dgm:prSet/>
      <dgm:spPr/>
      <dgm:t>
        <a:bodyPr/>
        <a:lstStyle/>
        <a:p>
          <a:endParaRPr lang="en-US"/>
        </a:p>
      </dgm:t>
    </dgm:pt>
    <dgm:pt modelId="{FCAB5C35-7481-4C5C-AD72-5BA25E1D583B}">
      <dgm:prSet/>
      <dgm:spPr/>
      <dgm:t>
        <a:bodyPr/>
        <a:lstStyle/>
        <a:p>
          <a:r>
            <a:rPr lang="en-US" baseline="0"/>
            <a:t>Explore Columnstore usage</a:t>
          </a:r>
          <a:endParaRPr lang="en-US"/>
        </a:p>
      </dgm:t>
    </dgm:pt>
    <dgm:pt modelId="{1A22AE35-D572-48E0-9895-7FCCCA7EDCFC}" type="parTrans" cxnId="{E209E4E8-766F-415B-B308-1FA5C7C82187}">
      <dgm:prSet/>
      <dgm:spPr/>
      <dgm:t>
        <a:bodyPr/>
        <a:lstStyle/>
        <a:p>
          <a:endParaRPr lang="en-US"/>
        </a:p>
      </dgm:t>
    </dgm:pt>
    <dgm:pt modelId="{25B1E7CC-DF16-43BB-B20B-6801ED34C604}" type="sibTrans" cxnId="{E209E4E8-766F-415B-B308-1FA5C7C82187}">
      <dgm:prSet/>
      <dgm:spPr/>
      <dgm:t>
        <a:bodyPr/>
        <a:lstStyle/>
        <a:p>
          <a:endParaRPr lang="en-US"/>
        </a:p>
      </dgm:t>
    </dgm:pt>
    <dgm:pt modelId="{58309BDE-9439-4987-9B13-DA5107622B4A}" type="pres">
      <dgm:prSet presAssocID="{C3EA5C39-225E-48C8-A907-FB2EA6359C47}" presName="Name0" presStyleCnt="0">
        <dgm:presLayoutVars>
          <dgm:chPref val="3"/>
          <dgm:dir/>
          <dgm:animLvl val="lvl"/>
          <dgm:resizeHandles/>
        </dgm:presLayoutVars>
      </dgm:prSet>
      <dgm:spPr/>
    </dgm:pt>
    <dgm:pt modelId="{FDD9940C-A0FF-4B34-B25E-A4D821F4E75C}" type="pres">
      <dgm:prSet presAssocID="{A4021F5A-CBFA-491F-936E-E769FE0C4624}" presName="horFlow" presStyleCnt="0"/>
      <dgm:spPr/>
    </dgm:pt>
    <dgm:pt modelId="{42D53790-E1D8-486F-9C98-B039366F352A}" type="pres">
      <dgm:prSet presAssocID="{A4021F5A-CBFA-491F-936E-E769FE0C4624}" presName="bigChev" presStyleLbl="node1" presStyleIdx="0" presStyleCnt="8" custScaleX="315017"/>
      <dgm:spPr/>
    </dgm:pt>
    <dgm:pt modelId="{1FDB9DAD-30C7-4853-A1D2-2E3681763B0D}" type="pres">
      <dgm:prSet presAssocID="{AA66451C-C4C3-4435-954A-64412BE82A9D}" presName="parTrans" presStyleCnt="0"/>
      <dgm:spPr/>
    </dgm:pt>
    <dgm:pt modelId="{A9190175-8363-45A4-ADBE-D73835FA0808}" type="pres">
      <dgm:prSet presAssocID="{2C0A6D22-4850-4044-BE56-CA0931CB741B}" presName="node" presStyleLbl="alignAccFollowNode1" presStyleIdx="0" presStyleCnt="8" custScaleX="517673" custLinFactNeighborY="4323">
        <dgm:presLayoutVars>
          <dgm:bulletEnabled val="1"/>
        </dgm:presLayoutVars>
      </dgm:prSet>
      <dgm:spPr/>
    </dgm:pt>
    <dgm:pt modelId="{B3B15471-DC02-4FF8-A1F6-7D9896ED8199}" type="pres">
      <dgm:prSet presAssocID="{A4021F5A-CBFA-491F-936E-E769FE0C4624}" presName="vSp" presStyleCnt="0"/>
      <dgm:spPr/>
    </dgm:pt>
    <dgm:pt modelId="{5F59EF55-5D24-4064-B62F-56108A5D268F}" type="pres">
      <dgm:prSet presAssocID="{2BB1C005-3DAA-407D-AA7F-564AFB68468C}" presName="horFlow" presStyleCnt="0"/>
      <dgm:spPr/>
    </dgm:pt>
    <dgm:pt modelId="{BBB97028-5C27-460F-A41C-241FF4E73BE4}" type="pres">
      <dgm:prSet presAssocID="{2BB1C005-3DAA-407D-AA7F-564AFB68468C}" presName="bigChev" presStyleLbl="node1" presStyleIdx="1" presStyleCnt="8" custScaleX="315017"/>
      <dgm:spPr/>
    </dgm:pt>
    <dgm:pt modelId="{565AF4A0-7A97-4FDB-8B33-5D1053463B05}" type="pres">
      <dgm:prSet presAssocID="{167FE46D-D885-4540-BBB6-60DAAE723EB3}" presName="parTrans" presStyleCnt="0"/>
      <dgm:spPr/>
    </dgm:pt>
    <dgm:pt modelId="{632F67D9-C5DD-46BB-A29A-70B3538E91FE}" type="pres">
      <dgm:prSet presAssocID="{718C5D98-2063-4C13-98F9-6CE5A5D62F45}" presName="node" presStyleLbl="alignAccFollowNode1" presStyleIdx="1" presStyleCnt="8" custScaleX="517673" custLinFactNeighborY="4323">
        <dgm:presLayoutVars>
          <dgm:bulletEnabled val="1"/>
        </dgm:presLayoutVars>
      </dgm:prSet>
      <dgm:spPr/>
    </dgm:pt>
    <dgm:pt modelId="{D8D76E8E-50BC-4EB1-A532-31D5F6D8CB59}" type="pres">
      <dgm:prSet presAssocID="{2BB1C005-3DAA-407D-AA7F-564AFB68468C}" presName="vSp" presStyleCnt="0"/>
      <dgm:spPr/>
    </dgm:pt>
    <dgm:pt modelId="{DAD8D246-9745-4363-BEDE-11632B94A8E0}" type="pres">
      <dgm:prSet presAssocID="{F1530348-784B-4EB2-B13D-5936A026AFCF}" presName="horFlow" presStyleCnt="0"/>
      <dgm:spPr/>
    </dgm:pt>
    <dgm:pt modelId="{FE01961C-1565-4A1E-8D31-5623C1163BD7}" type="pres">
      <dgm:prSet presAssocID="{F1530348-784B-4EB2-B13D-5936A026AFCF}" presName="bigChev" presStyleLbl="node1" presStyleIdx="2" presStyleCnt="8" custScaleX="315017"/>
      <dgm:spPr/>
    </dgm:pt>
    <dgm:pt modelId="{7BF0FED7-A17A-45B1-8886-B973129ADCF7}" type="pres">
      <dgm:prSet presAssocID="{4E274C75-9E3B-4863-8A30-74ADDD33D640}" presName="parTrans" presStyleCnt="0"/>
      <dgm:spPr/>
    </dgm:pt>
    <dgm:pt modelId="{8FD2D8ED-9B4E-46E2-89DA-85EB33406E44}" type="pres">
      <dgm:prSet presAssocID="{311520CA-4866-4FED-A941-8B930B1E767F}" presName="node" presStyleLbl="alignAccFollowNode1" presStyleIdx="2" presStyleCnt="8" custScaleX="517673" custLinFactNeighborY="4323">
        <dgm:presLayoutVars>
          <dgm:bulletEnabled val="1"/>
        </dgm:presLayoutVars>
      </dgm:prSet>
      <dgm:spPr/>
    </dgm:pt>
    <dgm:pt modelId="{5A92BEEA-BFA6-4781-AA47-BBA20C0C3AE4}" type="pres">
      <dgm:prSet presAssocID="{F1530348-784B-4EB2-B13D-5936A026AFCF}" presName="vSp" presStyleCnt="0"/>
      <dgm:spPr/>
    </dgm:pt>
    <dgm:pt modelId="{878050E6-0C63-4EF8-9B62-E1BD122A8474}" type="pres">
      <dgm:prSet presAssocID="{EC9CEF5C-F22D-4FF3-AD5A-6CB6BEF120D1}" presName="horFlow" presStyleCnt="0"/>
      <dgm:spPr/>
    </dgm:pt>
    <dgm:pt modelId="{7AD8F8DE-DC12-46E2-9F6C-449CBEB040CB}" type="pres">
      <dgm:prSet presAssocID="{EC9CEF5C-F22D-4FF3-AD5A-6CB6BEF120D1}" presName="bigChev" presStyleLbl="node1" presStyleIdx="3" presStyleCnt="8" custScaleX="315017"/>
      <dgm:spPr/>
    </dgm:pt>
    <dgm:pt modelId="{59574036-4F8B-4818-A387-64B659ECC507}" type="pres">
      <dgm:prSet presAssocID="{5F6A3032-7BAD-4781-868D-1E7580DDA655}" presName="parTrans" presStyleCnt="0"/>
      <dgm:spPr/>
    </dgm:pt>
    <dgm:pt modelId="{0878C3B0-F2C0-49E8-B573-2E3D29ED2FD4}" type="pres">
      <dgm:prSet presAssocID="{0CC9CE06-89E6-4107-AE91-09D1D8078C51}" presName="node" presStyleLbl="alignAccFollowNode1" presStyleIdx="3" presStyleCnt="8" custScaleX="517673" custLinFactNeighborY="4323">
        <dgm:presLayoutVars>
          <dgm:bulletEnabled val="1"/>
        </dgm:presLayoutVars>
      </dgm:prSet>
      <dgm:spPr/>
    </dgm:pt>
    <dgm:pt modelId="{8503C3CC-1959-42C9-AF7E-677B639676CA}" type="pres">
      <dgm:prSet presAssocID="{EC9CEF5C-F22D-4FF3-AD5A-6CB6BEF120D1}" presName="vSp" presStyleCnt="0"/>
      <dgm:spPr/>
    </dgm:pt>
    <dgm:pt modelId="{6C4DD050-801C-49D2-A865-BD48D13655A8}" type="pres">
      <dgm:prSet presAssocID="{8A0FDB3E-AAF6-448F-9E8A-BCC47DC8C935}" presName="horFlow" presStyleCnt="0"/>
      <dgm:spPr/>
    </dgm:pt>
    <dgm:pt modelId="{06450622-2A9A-4112-AA15-E711ECB80B04}" type="pres">
      <dgm:prSet presAssocID="{8A0FDB3E-AAF6-448F-9E8A-BCC47DC8C935}" presName="bigChev" presStyleLbl="node1" presStyleIdx="4" presStyleCnt="8" custScaleX="315017"/>
      <dgm:spPr/>
    </dgm:pt>
    <dgm:pt modelId="{D00132CF-435A-4F2A-BAED-FB601453C57E}" type="pres">
      <dgm:prSet presAssocID="{F6CBBC0F-6B4F-4202-B201-405C3804CA3B}" presName="parTrans" presStyleCnt="0"/>
      <dgm:spPr/>
    </dgm:pt>
    <dgm:pt modelId="{EB9FF133-C9A7-4B9A-8D70-2274569C9D84}" type="pres">
      <dgm:prSet presAssocID="{CD337033-173C-4DE4-9D47-8E8225CDF574}" presName="node" presStyleLbl="alignAccFollowNode1" presStyleIdx="4" presStyleCnt="8" custScaleX="517673">
        <dgm:presLayoutVars>
          <dgm:bulletEnabled val="1"/>
        </dgm:presLayoutVars>
      </dgm:prSet>
      <dgm:spPr/>
    </dgm:pt>
    <dgm:pt modelId="{EA437F16-DA7B-44C8-8BBA-FCE7E26D83C6}" type="pres">
      <dgm:prSet presAssocID="{8A0FDB3E-AAF6-448F-9E8A-BCC47DC8C935}" presName="vSp" presStyleCnt="0"/>
      <dgm:spPr/>
    </dgm:pt>
    <dgm:pt modelId="{E55436CE-6C4B-4208-8EE5-4332EBB16180}" type="pres">
      <dgm:prSet presAssocID="{75A40C51-BC84-4FBB-AE16-8CA6E9009619}" presName="horFlow" presStyleCnt="0"/>
      <dgm:spPr/>
    </dgm:pt>
    <dgm:pt modelId="{06A12850-0C9E-498C-BD98-8D3EEE26E165}" type="pres">
      <dgm:prSet presAssocID="{75A40C51-BC84-4FBB-AE16-8CA6E9009619}" presName="bigChev" presStyleLbl="node1" presStyleIdx="5" presStyleCnt="8" custScaleX="315017"/>
      <dgm:spPr/>
    </dgm:pt>
    <dgm:pt modelId="{A3ECDABA-7E7E-44FF-8CC3-24B6BF0C3C9C}" type="pres">
      <dgm:prSet presAssocID="{7FFA6777-3FA5-4E92-AC89-3ABE91DDF50C}" presName="parTrans" presStyleCnt="0"/>
      <dgm:spPr/>
    </dgm:pt>
    <dgm:pt modelId="{42C53EB0-2851-48B0-AAC7-1E04A12E057B}" type="pres">
      <dgm:prSet presAssocID="{1200DB9C-C934-4389-B62D-0B42E0276129}" presName="node" presStyleLbl="alignAccFollowNode1" presStyleIdx="5" presStyleCnt="8" custScaleX="517673">
        <dgm:presLayoutVars>
          <dgm:bulletEnabled val="1"/>
        </dgm:presLayoutVars>
      </dgm:prSet>
      <dgm:spPr/>
    </dgm:pt>
    <dgm:pt modelId="{05755CC3-F4BE-47C3-90F2-16D3D875B7B6}" type="pres">
      <dgm:prSet presAssocID="{75A40C51-BC84-4FBB-AE16-8CA6E9009619}" presName="vSp" presStyleCnt="0"/>
      <dgm:spPr/>
    </dgm:pt>
    <dgm:pt modelId="{82E2947A-4C4B-40C6-AC7B-13FD5373BD73}" type="pres">
      <dgm:prSet presAssocID="{6EF19209-4D6E-4F3F-8960-B01A084584C6}" presName="horFlow" presStyleCnt="0"/>
      <dgm:spPr/>
    </dgm:pt>
    <dgm:pt modelId="{BA405E10-DC0B-4637-967A-DD3A9B42C70A}" type="pres">
      <dgm:prSet presAssocID="{6EF19209-4D6E-4F3F-8960-B01A084584C6}" presName="bigChev" presStyleLbl="node1" presStyleIdx="6" presStyleCnt="8" custScaleX="315017"/>
      <dgm:spPr/>
    </dgm:pt>
    <dgm:pt modelId="{0F919FBC-F844-45CC-86BA-0715DCAA2AB4}" type="pres">
      <dgm:prSet presAssocID="{67076C05-5C64-4E0A-82C8-BD4D663BED4B}" presName="parTrans" presStyleCnt="0"/>
      <dgm:spPr/>
    </dgm:pt>
    <dgm:pt modelId="{5DF81F36-87E0-4337-A0E1-28C5E086A8A2}" type="pres">
      <dgm:prSet presAssocID="{400773BC-9A23-434C-9FD7-37ADF94391FB}" presName="node" presStyleLbl="alignAccFollowNode1" presStyleIdx="6" presStyleCnt="8" custScaleX="517673">
        <dgm:presLayoutVars>
          <dgm:bulletEnabled val="1"/>
        </dgm:presLayoutVars>
      </dgm:prSet>
      <dgm:spPr/>
    </dgm:pt>
    <dgm:pt modelId="{A180AEEC-AE25-4D11-BCD5-23996376D56E}" type="pres">
      <dgm:prSet presAssocID="{6EF19209-4D6E-4F3F-8960-B01A084584C6}" presName="vSp" presStyleCnt="0"/>
      <dgm:spPr/>
    </dgm:pt>
    <dgm:pt modelId="{0F105BC9-18F7-4FDA-9DDA-D4AE42C4D425}" type="pres">
      <dgm:prSet presAssocID="{95138D86-6112-4773-924A-9D7D533F79E7}" presName="horFlow" presStyleCnt="0"/>
      <dgm:spPr/>
    </dgm:pt>
    <dgm:pt modelId="{C84D6B38-BCEE-4E64-B426-1DC719699F06}" type="pres">
      <dgm:prSet presAssocID="{95138D86-6112-4773-924A-9D7D533F79E7}" presName="bigChev" presStyleLbl="node1" presStyleIdx="7" presStyleCnt="8" custScaleX="315017"/>
      <dgm:spPr/>
    </dgm:pt>
    <dgm:pt modelId="{A04F6545-2AAF-4358-947D-F26F43A5808A}" type="pres">
      <dgm:prSet presAssocID="{1A22AE35-D572-48E0-9895-7FCCCA7EDCFC}" presName="parTrans" presStyleCnt="0"/>
      <dgm:spPr/>
    </dgm:pt>
    <dgm:pt modelId="{FA3EDBDB-B0C2-4975-904A-FFDC719B956D}" type="pres">
      <dgm:prSet presAssocID="{FCAB5C35-7481-4C5C-AD72-5BA25E1D583B}" presName="node" presStyleLbl="alignAccFollowNode1" presStyleIdx="7" presStyleCnt="8" custScaleX="517673">
        <dgm:presLayoutVars>
          <dgm:bulletEnabled val="1"/>
        </dgm:presLayoutVars>
      </dgm:prSet>
      <dgm:spPr/>
    </dgm:pt>
  </dgm:ptLst>
  <dgm:cxnLst>
    <dgm:cxn modelId="{99730F07-102E-4BE9-90E6-BC908B96B9E8}" srcId="{C3EA5C39-225E-48C8-A907-FB2EA6359C47}" destId="{95138D86-6112-4773-924A-9D7D533F79E7}" srcOrd="7" destOrd="0" parTransId="{EA3797DA-17A6-493A-B745-D0403B0948B9}" sibTransId="{232FDA62-45F1-4873-8206-E3326E506475}"/>
    <dgm:cxn modelId="{3F97EC0F-7F47-4996-9A8B-F7BB943215D9}" srcId="{C3EA5C39-225E-48C8-A907-FB2EA6359C47}" destId="{6EF19209-4D6E-4F3F-8960-B01A084584C6}" srcOrd="6" destOrd="0" parTransId="{8C44DEB6-A233-483C-B5E8-087EFBBEFA87}" sibTransId="{1477D851-05D5-47B3-9E43-E414D0A1BC9F}"/>
    <dgm:cxn modelId="{3C6A1E11-E76C-4BFF-B60E-6934EFEE169A}" srcId="{C3EA5C39-225E-48C8-A907-FB2EA6359C47}" destId="{A4021F5A-CBFA-491F-936E-E769FE0C4624}" srcOrd="0" destOrd="0" parTransId="{D63351F8-4EFE-422F-8D63-4A5BDD1984ED}" sibTransId="{9EAEEDBE-7F10-4738-AE02-4490C1665737}"/>
    <dgm:cxn modelId="{98394E22-81CB-477D-8864-1D622FBE1F59}" type="presOf" srcId="{400773BC-9A23-434C-9FD7-37ADF94391FB}" destId="{5DF81F36-87E0-4337-A0E1-28C5E086A8A2}" srcOrd="0" destOrd="0" presId="urn:microsoft.com/office/officeart/2005/8/layout/lProcess3"/>
    <dgm:cxn modelId="{6CFA582C-D2F0-4705-A3CF-80DC8E0684BC}" type="presOf" srcId="{75A40C51-BC84-4FBB-AE16-8CA6E9009619}" destId="{06A12850-0C9E-498C-BD98-8D3EEE26E165}" srcOrd="0" destOrd="0" presId="urn:microsoft.com/office/officeart/2005/8/layout/lProcess3"/>
    <dgm:cxn modelId="{692D962F-899B-47F9-B8A9-2AAD54CD93C2}" srcId="{EC9CEF5C-F22D-4FF3-AD5A-6CB6BEF120D1}" destId="{0CC9CE06-89E6-4107-AE91-09D1D8078C51}" srcOrd="0" destOrd="0" parTransId="{5F6A3032-7BAD-4781-868D-1E7580DDA655}" sibTransId="{464EED3B-CF8E-4A30-9C29-6D557F83709B}"/>
    <dgm:cxn modelId="{A7056B37-E54A-4227-9636-312B97631E11}" srcId="{75A40C51-BC84-4FBB-AE16-8CA6E9009619}" destId="{1200DB9C-C934-4389-B62D-0B42E0276129}" srcOrd="0" destOrd="0" parTransId="{7FFA6777-3FA5-4E92-AC89-3ABE91DDF50C}" sibTransId="{A1CFD811-D953-4244-8653-025F3D138808}"/>
    <dgm:cxn modelId="{6FBC0C5B-0E44-4940-8C7C-070F03B4B472}" type="presOf" srcId="{718C5D98-2063-4C13-98F9-6CE5A5D62F45}" destId="{632F67D9-C5DD-46BB-A29A-70B3538E91FE}" srcOrd="0" destOrd="0" presId="urn:microsoft.com/office/officeart/2005/8/layout/lProcess3"/>
    <dgm:cxn modelId="{A5446E64-8C31-4596-85DA-4B1831D780B5}" srcId="{C3EA5C39-225E-48C8-A907-FB2EA6359C47}" destId="{2BB1C005-3DAA-407D-AA7F-564AFB68468C}" srcOrd="1" destOrd="0" parTransId="{BF2CEE00-A25E-4403-96C9-890DD2137FE8}" sibTransId="{D007C387-43A2-4F72-85CC-92BCE77E0E64}"/>
    <dgm:cxn modelId="{28CE7044-FA4F-446A-9297-56D26FA18D48}" srcId="{C3EA5C39-225E-48C8-A907-FB2EA6359C47}" destId="{EC9CEF5C-F22D-4FF3-AD5A-6CB6BEF120D1}" srcOrd="3" destOrd="0" parTransId="{00C38039-95F5-48BB-BAE9-ED806F226622}" sibTransId="{D0C2B69F-B54A-4050-93A1-4D002971439F}"/>
    <dgm:cxn modelId="{F2604A6E-179E-4EB0-BB25-7DFDB7A525E3}" type="presOf" srcId="{311520CA-4866-4FED-A941-8B930B1E767F}" destId="{8FD2D8ED-9B4E-46E2-89DA-85EB33406E44}" srcOrd="0" destOrd="0" presId="urn:microsoft.com/office/officeart/2005/8/layout/lProcess3"/>
    <dgm:cxn modelId="{0275BD74-4F5F-4EF4-B5FF-6FB7E2EBE249}" type="presOf" srcId="{EC9CEF5C-F22D-4FF3-AD5A-6CB6BEF120D1}" destId="{7AD8F8DE-DC12-46E2-9F6C-449CBEB040CB}" srcOrd="0" destOrd="0" presId="urn:microsoft.com/office/officeart/2005/8/layout/lProcess3"/>
    <dgm:cxn modelId="{52822C75-BF9E-4167-9600-864CDB93C3E2}" srcId="{C3EA5C39-225E-48C8-A907-FB2EA6359C47}" destId="{75A40C51-BC84-4FBB-AE16-8CA6E9009619}" srcOrd="5" destOrd="0" parTransId="{A95770E8-B257-4F41-8C4F-71A243BDBE94}" sibTransId="{EC55E21A-A414-4904-9018-0F5C5EE473E8}"/>
    <dgm:cxn modelId="{F5ACC157-9696-4F6A-830C-A52A49EFCD57}" type="presOf" srcId="{FCAB5C35-7481-4C5C-AD72-5BA25E1D583B}" destId="{FA3EDBDB-B0C2-4975-904A-FFDC719B956D}" srcOrd="0" destOrd="0" presId="urn:microsoft.com/office/officeart/2005/8/layout/lProcess3"/>
    <dgm:cxn modelId="{DE29067C-DF0F-4D38-A01B-7DFE3AB0A232}" type="presOf" srcId="{0CC9CE06-89E6-4107-AE91-09D1D8078C51}" destId="{0878C3B0-F2C0-49E8-B573-2E3D29ED2FD4}" srcOrd="0" destOrd="0" presId="urn:microsoft.com/office/officeart/2005/8/layout/lProcess3"/>
    <dgm:cxn modelId="{AC2C997C-8F96-48A2-AC2E-7E8285531C7F}" srcId="{2BB1C005-3DAA-407D-AA7F-564AFB68468C}" destId="{718C5D98-2063-4C13-98F9-6CE5A5D62F45}" srcOrd="0" destOrd="0" parTransId="{167FE46D-D885-4540-BBB6-60DAAE723EB3}" sibTransId="{19E4E54D-3CDE-44CF-B8BA-C4DD23EA284E}"/>
    <dgm:cxn modelId="{13851A92-98A6-4687-B082-A00008C76C68}" type="presOf" srcId="{2C0A6D22-4850-4044-BE56-CA0931CB741B}" destId="{A9190175-8363-45A4-ADBE-D73835FA0808}" srcOrd="0" destOrd="0" presId="urn:microsoft.com/office/officeart/2005/8/layout/lProcess3"/>
    <dgm:cxn modelId="{0BB88E97-8B64-446E-8C5F-A5E89E856D67}" type="presOf" srcId="{A4021F5A-CBFA-491F-936E-E769FE0C4624}" destId="{42D53790-E1D8-486F-9C98-B039366F352A}" srcOrd="0" destOrd="0" presId="urn:microsoft.com/office/officeart/2005/8/layout/lProcess3"/>
    <dgm:cxn modelId="{CE7BD298-1CF8-483C-9D2B-BCA76070066E}" type="presOf" srcId="{F1530348-784B-4EB2-B13D-5936A026AFCF}" destId="{FE01961C-1565-4A1E-8D31-5623C1163BD7}" srcOrd="0" destOrd="0" presId="urn:microsoft.com/office/officeart/2005/8/layout/lProcess3"/>
    <dgm:cxn modelId="{294EE2A5-0179-4989-8B77-B223BA2E8E1E}" type="presOf" srcId="{95138D86-6112-4773-924A-9D7D533F79E7}" destId="{C84D6B38-BCEE-4E64-B426-1DC719699F06}" srcOrd="0" destOrd="0" presId="urn:microsoft.com/office/officeart/2005/8/layout/lProcess3"/>
    <dgm:cxn modelId="{E43589B0-8911-4EA9-8B72-2C9E414EC6F4}" srcId="{F1530348-784B-4EB2-B13D-5936A026AFCF}" destId="{311520CA-4866-4FED-A941-8B930B1E767F}" srcOrd="0" destOrd="0" parTransId="{4E274C75-9E3B-4863-8A30-74ADDD33D640}" sibTransId="{046FC9C4-E020-41DD-A275-FADF431D17E6}"/>
    <dgm:cxn modelId="{2CD78DB4-09F5-4329-AD7B-30A96FF9DE2D}" srcId="{8A0FDB3E-AAF6-448F-9E8A-BCC47DC8C935}" destId="{CD337033-173C-4DE4-9D47-8E8225CDF574}" srcOrd="0" destOrd="0" parTransId="{F6CBBC0F-6B4F-4202-B201-405C3804CA3B}" sibTransId="{6DA30905-42DE-4BE7-86FE-9FB6E567491D}"/>
    <dgm:cxn modelId="{453789BE-645E-44E4-98D8-CA01DEF8D213}" type="presOf" srcId="{6EF19209-4D6E-4F3F-8960-B01A084584C6}" destId="{BA405E10-DC0B-4637-967A-DD3A9B42C70A}" srcOrd="0" destOrd="0" presId="urn:microsoft.com/office/officeart/2005/8/layout/lProcess3"/>
    <dgm:cxn modelId="{0879CFC4-9421-466D-8D70-CCC20977C767}" srcId="{6EF19209-4D6E-4F3F-8960-B01A084584C6}" destId="{400773BC-9A23-434C-9FD7-37ADF94391FB}" srcOrd="0" destOrd="0" parTransId="{67076C05-5C64-4E0A-82C8-BD4D663BED4B}" sibTransId="{A6E80244-7451-442B-91FF-1DCC11F1E934}"/>
    <dgm:cxn modelId="{4D9C65C7-217A-4DDC-9BA2-C0EA2AE08138}" type="presOf" srcId="{2BB1C005-3DAA-407D-AA7F-564AFB68468C}" destId="{BBB97028-5C27-460F-A41C-241FF4E73BE4}" srcOrd="0" destOrd="0" presId="urn:microsoft.com/office/officeart/2005/8/layout/lProcess3"/>
    <dgm:cxn modelId="{8D25ADC7-2492-445F-ABF3-0BEEE85BAB8B}" type="presOf" srcId="{CD337033-173C-4DE4-9D47-8E8225CDF574}" destId="{EB9FF133-C9A7-4B9A-8D70-2274569C9D84}" srcOrd="0" destOrd="0" presId="urn:microsoft.com/office/officeart/2005/8/layout/lProcess3"/>
    <dgm:cxn modelId="{BDE96ECD-7AFC-48A7-8C99-AD72EBA2E19F}" type="presOf" srcId="{8A0FDB3E-AAF6-448F-9E8A-BCC47DC8C935}" destId="{06450622-2A9A-4112-AA15-E711ECB80B04}" srcOrd="0" destOrd="0" presId="urn:microsoft.com/office/officeart/2005/8/layout/lProcess3"/>
    <dgm:cxn modelId="{400755D5-1502-46B5-A759-AD0000393855}" srcId="{A4021F5A-CBFA-491F-936E-E769FE0C4624}" destId="{2C0A6D22-4850-4044-BE56-CA0931CB741B}" srcOrd="0" destOrd="0" parTransId="{AA66451C-C4C3-4435-954A-64412BE82A9D}" sibTransId="{36889D10-6481-4943-8C06-31D9CFCD59FC}"/>
    <dgm:cxn modelId="{2FDB29E2-6AB3-4ACE-ACB1-7F4CAE6717A7}" srcId="{C3EA5C39-225E-48C8-A907-FB2EA6359C47}" destId="{8A0FDB3E-AAF6-448F-9E8A-BCC47DC8C935}" srcOrd="4" destOrd="0" parTransId="{89E0F5D1-BD09-47B7-99EE-995393A7A87B}" sibTransId="{6542D1D9-1A0B-42DE-9594-3AD1FA98AB3E}"/>
    <dgm:cxn modelId="{4F2B5CE2-3847-4A55-B952-AE6A25A1C887}" type="presOf" srcId="{C3EA5C39-225E-48C8-A907-FB2EA6359C47}" destId="{58309BDE-9439-4987-9B13-DA5107622B4A}" srcOrd="0" destOrd="0" presId="urn:microsoft.com/office/officeart/2005/8/layout/lProcess3"/>
    <dgm:cxn modelId="{E209E4E8-766F-415B-B308-1FA5C7C82187}" srcId="{95138D86-6112-4773-924A-9D7D533F79E7}" destId="{FCAB5C35-7481-4C5C-AD72-5BA25E1D583B}" srcOrd="0" destOrd="0" parTransId="{1A22AE35-D572-48E0-9895-7FCCCA7EDCFC}" sibTransId="{25B1E7CC-DF16-43BB-B20B-6801ED34C604}"/>
    <dgm:cxn modelId="{4D9D04F2-2C59-435C-9B34-A5D1583B51B1}" type="presOf" srcId="{1200DB9C-C934-4389-B62D-0B42E0276129}" destId="{42C53EB0-2851-48B0-AAC7-1E04A12E057B}" srcOrd="0" destOrd="0" presId="urn:microsoft.com/office/officeart/2005/8/layout/lProcess3"/>
    <dgm:cxn modelId="{1A4E51FF-7E5B-4DB6-ADE0-8785398E9314}" srcId="{C3EA5C39-225E-48C8-A907-FB2EA6359C47}" destId="{F1530348-784B-4EB2-B13D-5936A026AFCF}" srcOrd="2" destOrd="0" parTransId="{80A07204-DAA0-48FE-B92F-FA0765D2C388}" sibTransId="{DB84ED1C-B934-4E80-AF98-E4BE4A8ADC6A}"/>
    <dgm:cxn modelId="{55902052-996F-4C5A-B368-4470D9683C5B}" type="presParOf" srcId="{58309BDE-9439-4987-9B13-DA5107622B4A}" destId="{FDD9940C-A0FF-4B34-B25E-A4D821F4E75C}" srcOrd="0" destOrd="0" presId="urn:microsoft.com/office/officeart/2005/8/layout/lProcess3"/>
    <dgm:cxn modelId="{63F83840-6BDC-4C15-AC5F-563D72A75D60}" type="presParOf" srcId="{FDD9940C-A0FF-4B34-B25E-A4D821F4E75C}" destId="{42D53790-E1D8-486F-9C98-B039366F352A}" srcOrd="0" destOrd="0" presId="urn:microsoft.com/office/officeart/2005/8/layout/lProcess3"/>
    <dgm:cxn modelId="{F221F064-DBE1-462E-B1B3-98CDA3DE13DA}" type="presParOf" srcId="{FDD9940C-A0FF-4B34-B25E-A4D821F4E75C}" destId="{1FDB9DAD-30C7-4853-A1D2-2E3681763B0D}" srcOrd="1" destOrd="0" presId="urn:microsoft.com/office/officeart/2005/8/layout/lProcess3"/>
    <dgm:cxn modelId="{AD0DF1A1-A15D-4648-8869-83FCF635607F}" type="presParOf" srcId="{FDD9940C-A0FF-4B34-B25E-A4D821F4E75C}" destId="{A9190175-8363-45A4-ADBE-D73835FA0808}" srcOrd="2" destOrd="0" presId="urn:microsoft.com/office/officeart/2005/8/layout/lProcess3"/>
    <dgm:cxn modelId="{4FB0E777-3A0A-4DE7-B0EB-B8BCA0FF42BC}" type="presParOf" srcId="{58309BDE-9439-4987-9B13-DA5107622B4A}" destId="{B3B15471-DC02-4FF8-A1F6-7D9896ED8199}" srcOrd="1" destOrd="0" presId="urn:microsoft.com/office/officeart/2005/8/layout/lProcess3"/>
    <dgm:cxn modelId="{9E993052-5A09-4C8A-AB55-1C8DCD5D1A02}" type="presParOf" srcId="{58309BDE-9439-4987-9B13-DA5107622B4A}" destId="{5F59EF55-5D24-4064-B62F-56108A5D268F}" srcOrd="2" destOrd="0" presId="urn:microsoft.com/office/officeart/2005/8/layout/lProcess3"/>
    <dgm:cxn modelId="{223A3B5C-7186-4064-8A00-C33F40CAC90F}" type="presParOf" srcId="{5F59EF55-5D24-4064-B62F-56108A5D268F}" destId="{BBB97028-5C27-460F-A41C-241FF4E73BE4}" srcOrd="0" destOrd="0" presId="urn:microsoft.com/office/officeart/2005/8/layout/lProcess3"/>
    <dgm:cxn modelId="{4E41899D-02E4-4F2B-8F4F-09A86F5E30DA}" type="presParOf" srcId="{5F59EF55-5D24-4064-B62F-56108A5D268F}" destId="{565AF4A0-7A97-4FDB-8B33-5D1053463B05}" srcOrd="1" destOrd="0" presId="urn:microsoft.com/office/officeart/2005/8/layout/lProcess3"/>
    <dgm:cxn modelId="{E869DE1C-24BB-4667-899C-0AA22D484B1A}" type="presParOf" srcId="{5F59EF55-5D24-4064-B62F-56108A5D268F}" destId="{632F67D9-C5DD-46BB-A29A-70B3538E91FE}" srcOrd="2" destOrd="0" presId="urn:microsoft.com/office/officeart/2005/8/layout/lProcess3"/>
    <dgm:cxn modelId="{E65E41BD-E05D-4DA1-9B2D-5363D6B66997}" type="presParOf" srcId="{58309BDE-9439-4987-9B13-DA5107622B4A}" destId="{D8D76E8E-50BC-4EB1-A532-31D5F6D8CB59}" srcOrd="3" destOrd="0" presId="urn:microsoft.com/office/officeart/2005/8/layout/lProcess3"/>
    <dgm:cxn modelId="{41380A68-6888-4588-8B47-BB607ADE3A1D}" type="presParOf" srcId="{58309BDE-9439-4987-9B13-DA5107622B4A}" destId="{DAD8D246-9745-4363-BEDE-11632B94A8E0}" srcOrd="4" destOrd="0" presId="urn:microsoft.com/office/officeart/2005/8/layout/lProcess3"/>
    <dgm:cxn modelId="{C9D19FC5-1CA7-41B1-A864-00A32821A7D6}" type="presParOf" srcId="{DAD8D246-9745-4363-BEDE-11632B94A8E0}" destId="{FE01961C-1565-4A1E-8D31-5623C1163BD7}" srcOrd="0" destOrd="0" presId="urn:microsoft.com/office/officeart/2005/8/layout/lProcess3"/>
    <dgm:cxn modelId="{6A9E693A-37E6-422E-9EBF-671AC8D83DE6}" type="presParOf" srcId="{DAD8D246-9745-4363-BEDE-11632B94A8E0}" destId="{7BF0FED7-A17A-45B1-8886-B973129ADCF7}" srcOrd="1" destOrd="0" presId="urn:microsoft.com/office/officeart/2005/8/layout/lProcess3"/>
    <dgm:cxn modelId="{41DCF800-4333-457A-B74C-70606F39E47C}" type="presParOf" srcId="{DAD8D246-9745-4363-BEDE-11632B94A8E0}" destId="{8FD2D8ED-9B4E-46E2-89DA-85EB33406E44}" srcOrd="2" destOrd="0" presId="urn:microsoft.com/office/officeart/2005/8/layout/lProcess3"/>
    <dgm:cxn modelId="{09075A6B-7490-47A3-8C83-4308E6EF5388}" type="presParOf" srcId="{58309BDE-9439-4987-9B13-DA5107622B4A}" destId="{5A92BEEA-BFA6-4781-AA47-BBA20C0C3AE4}" srcOrd="5" destOrd="0" presId="urn:microsoft.com/office/officeart/2005/8/layout/lProcess3"/>
    <dgm:cxn modelId="{5DE89D8E-84CC-49FD-BDD3-1D00F7E32B12}" type="presParOf" srcId="{58309BDE-9439-4987-9B13-DA5107622B4A}" destId="{878050E6-0C63-4EF8-9B62-E1BD122A8474}" srcOrd="6" destOrd="0" presId="urn:microsoft.com/office/officeart/2005/8/layout/lProcess3"/>
    <dgm:cxn modelId="{1091FF43-4F90-47BF-B28B-FE0865A1C9E8}" type="presParOf" srcId="{878050E6-0C63-4EF8-9B62-E1BD122A8474}" destId="{7AD8F8DE-DC12-46E2-9F6C-449CBEB040CB}" srcOrd="0" destOrd="0" presId="urn:microsoft.com/office/officeart/2005/8/layout/lProcess3"/>
    <dgm:cxn modelId="{3FCAA17B-948F-4AEF-BF96-1B36EFDE89C8}" type="presParOf" srcId="{878050E6-0C63-4EF8-9B62-E1BD122A8474}" destId="{59574036-4F8B-4818-A387-64B659ECC507}" srcOrd="1" destOrd="0" presId="urn:microsoft.com/office/officeart/2005/8/layout/lProcess3"/>
    <dgm:cxn modelId="{A614813C-A583-49FB-8A29-84D2BDE501FD}" type="presParOf" srcId="{878050E6-0C63-4EF8-9B62-E1BD122A8474}" destId="{0878C3B0-F2C0-49E8-B573-2E3D29ED2FD4}" srcOrd="2" destOrd="0" presId="urn:microsoft.com/office/officeart/2005/8/layout/lProcess3"/>
    <dgm:cxn modelId="{3BA67A23-EE49-4C80-BAA8-194646B79ABD}" type="presParOf" srcId="{58309BDE-9439-4987-9B13-DA5107622B4A}" destId="{8503C3CC-1959-42C9-AF7E-677B639676CA}" srcOrd="7" destOrd="0" presId="urn:microsoft.com/office/officeart/2005/8/layout/lProcess3"/>
    <dgm:cxn modelId="{FBE89018-4A3C-4907-AC9F-018B2B567415}" type="presParOf" srcId="{58309BDE-9439-4987-9B13-DA5107622B4A}" destId="{6C4DD050-801C-49D2-A865-BD48D13655A8}" srcOrd="8" destOrd="0" presId="urn:microsoft.com/office/officeart/2005/8/layout/lProcess3"/>
    <dgm:cxn modelId="{0660D7B8-E2BB-494B-9D4A-6C0A06F98435}" type="presParOf" srcId="{6C4DD050-801C-49D2-A865-BD48D13655A8}" destId="{06450622-2A9A-4112-AA15-E711ECB80B04}" srcOrd="0" destOrd="0" presId="urn:microsoft.com/office/officeart/2005/8/layout/lProcess3"/>
    <dgm:cxn modelId="{CBE5B4B7-C771-4D4E-85BC-06A417DA5797}" type="presParOf" srcId="{6C4DD050-801C-49D2-A865-BD48D13655A8}" destId="{D00132CF-435A-4F2A-BAED-FB601453C57E}" srcOrd="1" destOrd="0" presId="urn:microsoft.com/office/officeart/2005/8/layout/lProcess3"/>
    <dgm:cxn modelId="{B1E8A8BD-76A3-4395-9A22-CAED97E84207}" type="presParOf" srcId="{6C4DD050-801C-49D2-A865-BD48D13655A8}" destId="{EB9FF133-C9A7-4B9A-8D70-2274569C9D84}" srcOrd="2" destOrd="0" presId="urn:microsoft.com/office/officeart/2005/8/layout/lProcess3"/>
    <dgm:cxn modelId="{05E8DB70-4C33-4B8F-BB08-06574CC45C17}" type="presParOf" srcId="{58309BDE-9439-4987-9B13-DA5107622B4A}" destId="{EA437F16-DA7B-44C8-8BBA-FCE7E26D83C6}" srcOrd="9" destOrd="0" presId="urn:microsoft.com/office/officeart/2005/8/layout/lProcess3"/>
    <dgm:cxn modelId="{88431E24-83C4-48A6-B70C-8B9CABC90A30}" type="presParOf" srcId="{58309BDE-9439-4987-9B13-DA5107622B4A}" destId="{E55436CE-6C4B-4208-8EE5-4332EBB16180}" srcOrd="10" destOrd="0" presId="urn:microsoft.com/office/officeart/2005/8/layout/lProcess3"/>
    <dgm:cxn modelId="{D0C652C3-9AD5-4D9D-8FD2-8DC128E8C6B9}" type="presParOf" srcId="{E55436CE-6C4B-4208-8EE5-4332EBB16180}" destId="{06A12850-0C9E-498C-BD98-8D3EEE26E165}" srcOrd="0" destOrd="0" presId="urn:microsoft.com/office/officeart/2005/8/layout/lProcess3"/>
    <dgm:cxn modelId="{DD029C41-4D4D-4087-8BC0-75CB2D021481}" type="presParOf" srcId="{E55436CE-6C4B-4208-8EE5-4332EBB16180}" destId="{A3ECDABA-7E7E-44FF-8CC3-24B6BF0C3C9C}" srcOrd="1" destOrd="0" presId="urn:microsoft.com/office/officeart/2005/8/layout/lProcess3"/>
    <dgm:cxn modelId="{AB2EAA7C-EE80-4FD2-95F2-22C2FD0405A5}" type="presParOf" srcId="{E55436CE-6C4B-4208-8EE5-4332EBB16180}" destId="{42C53EB0-2851-48B0-AAC7-1E04A12E057B}" srcOrd="2" destOrd="0" presId="urn:microsoft.com/office/officeart/2005/8/layout/lProcess3"/>
    <dgm:cxn modelId="{244E9B3A-168E-412F-A41C-5B1FB3705119}" type="presParOf" srcId="{58309BDE-9439-4987-9B13-DA5107622B4A}" destId="{05755CC3-F4BE-47C3-90F2-16D3D875B7B6}" srcOrd="11" destOrd="0" presId="urn:microsoft.com/office/officeart/2005/8/layout/lProcess3"/>
    <dgm:cxn modelId="{DD953625-A1CB-43DB-8A70-5A131219908F}" type="presParOf" srcId="{58309BDE-9439-4987-9B13-DA5107622B4A}" destId="{82E2947A-4C4B-40C6-AC7B-13FD5373BD73}" srcOrd="12" destOrd="0" presId="urn:microsoft.com/office/officeart/2005/8/layout/lProcess3"/>
    <dgm:cxn modelId="{18FC66CC-0C6F-4C10-A80E-7B22ED1E6E8D}" type="presParOf" srcId="{82E2947A-4C4B-40C6-AC7B-13FD5373BD73}" destId="{BA405E10-DC0B-4637-967A-DD3A9B42C70A}" srcOrd="0" destOrd="0" presId="urn:microsoft.com/office/officeart/2005/8/layout/lProcess3"/>
    <dgm:cxn modelId="{2B31A947-D5BB-45D6-9113-68119FC5FB96}" type="presParOf" srcId="{82E2947A-4C4B-40C6-AC7B-13FD5373BD73}" destId="{0F919FBC-F844-45CC-86BA-0715DCAA2AB4}" srcOrd="1" destOrd="0" presId="urn:microsoft.com/office/officeart/2005/8/layout/lProcess3"/>
    <dgm:cxn modelId="{88DCE68D-A783-4593-A9C8-5E587E99F30B}" type="presParOf" srcId="{82E2947A-4C4B-40C6-AC7B-13FD5373BD73}" destId="{5DF81F36-87E0-4337-A0E1-28C5E086A8A2}" srcOrd="2" destOrd="0" presId="urn:microsoft.com/office/officeart/2005/8/layout/lProcess3"/>
    <dgm:cxn modelId="{0B9ADED1-0916-44C4-AF72-8AA491C85CDA}" type="presParOf" srcId="{58309BDE-9439-4987-9B13-DA5107622B4A}" destId="{A180AEEC-AE25-4D11-BCD5-23996376D56E}" srcOrd="13" destOrd="0" presId="urn:microsoft.com/office/officeart/2005/8/layout/lProcess3"/>
    <dgm:cxn modelId="{DC6B4243-44DD-4E1E-A14C-C1448508F94D}" type="presParOf" srcId="{58309BDE-9439-4987-9B13-DA5107622B4A}" destId="{0F105BC9-18F7-4FDA-9DDA-D4AE42C4D425}" srcOrd="14" destOrd="0" presId="urn:microsoft.com/office/officeart/2005/8/layout/lProcess3"/>
    <dgm:cxn modelId="{FC52A4F4-081C-4DC1-BB5D-1775E8E16186}" type="presParOf" srcId="{0F105BC9-18F7-4FDA-9DDA-D4AE42C4D425}" destId="{C84D6B38-BCEE-4E64-B426-1DC719699F06}" srcOrd="0" destOrd="0" presId="urn:microsoft.com/office/officeart/2005/8/layout/lProcess3"/>
    <dgm:cxn modelId="{0F65B2BF-5DB0-44A3-A88B-12457D2FD552}" type="presParOf" srcId="{0F105BC9-18F7-4FDA-9DDA-D4AE42C4D425}" destId="{A04F6545-2AAF-4358-947D-F26F43A5808A}" srcOrd="1" destOrd="0" presId="urn:microsoft.com/office/officeart/2005/8/layout/lProcess3"/>
    <dgm:cxn modelId="{543F4B7E-7A2C-4D78-9872-EB4371450402}" type="presParOf" srcId="{0F105BC9-18F7-4FDA-9DDA-D4AE42C4D425}" destId="{FA3EDBDB-B0C2-4975-904A-FFDC719B956D}"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F48DFE4-2657-4E7C-944C-6B6EAB30DF78}" type="doc">
      <dgm:prSet loTypeId="urn:microsoft.com/office/officeart/2005/8/layout/pyramid2" loCatId="pyramid" qsTypeId="urn:microsoft.com/office/officeart/2005/8/quickstyle/simple1" qsCatId="simple" csTypeId="urn:microsoft.com/office/officeart/2005/8/colors/accent0_3" csCatId="mainScheme"/>
      <dgm:spPr/>
      <dgm:t>
        <a:bodyPr/>
        <a:lstStyle/>
        <a:p>
          <a:endParaRPr lang="en-US"/>
        </a:p>
      </dgm:t>
    </dgm:pt>
    <dgm:pt modelId="{68101554-C69F-4FEB-83AF-6100926A1A43}">
      <dgm:prSet/>
      <dgm:spPr/>
      <dgm:t>
        <a:bodyPr/>
        <a:lstStyle/>
        <a:p>
          <a:r>
            <a:rPr lang="en-US" baseline="0"/>
            <a:t>DWU Consumption</a:t>
          </a:r>
          <a:endParaRPr lang="en-US"/>
        </a:p>
      </dgm:t>
    </dgm:pt>
    <dgm:pt modelId="{5C98C439-8F95-43CE-904D-9AF4BDBF105F}" type="parTrans" cxnId="{BB2C8667-0B7F-409B-B3F6-7C021D740908}">
      <dgm:prSet/>
      <dgm:spPr/>
      <dgm:t>
        <a:bodyPr/>
        <a:lstStyle/>
        <a:p>
          <a:endParaRPr lang="en-US"/>
        </a:p>
      </dgm:t>
    </dgm:pt>
    <dgm:pt modelId="{69561C55-B02A-482A-A78B-8A896687DC8F}" type="sibTrans" cxnId="{BB2C8667-0B7F-409B-B3F6-7C021D740908}">
      <dgm:prSet/>
      <dgm:spPr/>
      <dgm:t>
        <a:bodyPr/>
        <a:lstStyle/>
        <a:p>
          <a:endParaRPr lang="en-US"/>
        </a:p>
      </dgm:t>
    </dgm:pt>
    <dgm:pt modelId="{82AC556D-E107-46B2-8228-236C82B1C774}">
      <dgm:prSet/>
      <dgm:spPr/>
      <dgm:t>
        <a:bodyPr/>
        <a:lstStyle/>
        <a:p>
          <a:r>
            <a:rPr lang="en-US" baseline="0"/>
            <a:t>Concurrency</a:t>
          </a:r>
          <a:endParaRPr lang="en-US"/>
        </a:p>
      </dgm:t>
    </dgm:pt>
    <dgm:pt modelId="{F5099C40-AEB0-45B9-8705-E195CE5CCDDC}" type="parTrans" cxnId="{4398E5D0-5EE9-43EB-9E1B-97D0B491B5EE}">
      <dgm:prSet/>
      <dgm:spPr/>
      <dgm:t>
        <a:bodyPr/>
        <a:lstStyle/>
        <a:p>
          <a:endParaRPr lang="en-US"/>
        </a:p>
      </dgm:t>
    </dgm:pt>
    <dgm:pt modelId="{81334CAD-DCEB-4EF7-BCA4-EFA2D5FF89B0}" type="sibTrans" cxnId="{4398E5D0-5EE9-43EB-9E1B-97D0B491B5EE}">
      <dgm:prSet/>
      <dgm:spPr/>
      <dgm:t>
        <a:bodyPr/>
        <a:lstStyle/>
        <a:p>
          <a:endParaRPr lang="en-US"/>
        </a:p>
      </dgm:t>
    </dgm:pt>
    <dgm:pt modelId="{0E238A8E-F109-45BC-B12B-67DD28469454}">
      <dgm:prSet/>
      <dgm:spPr/>
      <dgm:t>
        <a:bodyPr/>
        <a:lstStyle/>
        <a:p>
          <a:r>
            <a:rPr lang="en-US" baseline="0"/>
            <a:t>Tempdb consumption</a:t>
          </a:r>
          <a:endParaRPr lang="en-US"/>
        </a:p>
      </dgm:t>
    </dgm:pt>
    <dgm:pt modelId="{B8280225-1B1B-4EFD-A257-19085BD16E49}" type="parTrans" cxnId="{0924AA89-C0C2-457A-A240-456807E7C51B}">
      <dgm:prSet/>
      <dgm:spPr/>
      <dgm:t>
        <a:bodyPr/>
        <a:lstStyle/>
        <a:p>
          <a:endParaRPr lang="en-US"/>
        </a:p>
      </dgm:t>
    </dgm:pt>
    <dgm:pt modelId="{6FFDB29F-6AAE-42B0-8750-9C50763E6610}" type="sibTrans" cxnId="{0924AA89-C0C2-457A-A240-456807E7C51B}">
      <dgm:prSet/>
      <dgm:spPr/>
      <dgm:t>
        <a:bodyPr/>
        <a:lstStyle/>
        <a:p>
          <a:endParaRPr lang="en-US"/>
        </a:p>
      </dgm:t>
    </dgm:pt>
    <dgm:pt modelId="{09D93CE7-7140-4598-AC80-4726DD8F9369}">
      <dgm:prSet/>
      <dgm:spPr/>
      <dgm:t>
        <a:bodyPr/>
        <a:lstStyle/>
        <a:p>
          <a:r>
            <a:rPr lang="en-US" baseline="0"/>
            <a:t>Cache usage</a:t>
          </a:r>
          <a:endParaRPr lang="en-US"/>
        </a:p>
      </dgm:t>
    </dgm:pt>
    <dgm:pt modelId="{12E5065B-D0E1-47B4-91AF-82318397BBA7}" type="parTrans" cxnId="{58B0BB17-6563-4795-B765-1B5F0A632023}">
      <dgm:prSet/>
      <dgm:spPr/>
      <dgm:t>
        <a:bodyPr/>
        <a:lstStyle/>
        <a:p>
          <a:endParaRPr lang="en-US"/>
        </a:p>
      </dgm:t>
    </dgm:pt>
    <dgm:pt modelId="{05F60A09-7F1D-4A8F-B916-B0A21CAE6494}" type="sibTrans" cxnId="{58B0BB17-6563-4795-B765-1B5F0A632023}">
      <dgm:prSet/>
      <dgm:spPr/>
      <dgm:t>
        <a:bodyPr/>
        <a:lstStyle/>
        <a:p>
          <a:endParaRPr lang="en-US"/>
        </a:p>
      </dgm:t>
    </dgm:pt>
    <dgm:pt modelId="{17C19993-2630-427C-B656-4B6F20707773}" type="pres">
      <dgm:prSet presAssocID="{0F48DFE4-2657-4E7C-944C-6B6EAB30DF78}" presName="compositeShape" presStyleCnt="0">
        <dgm:presLayoutVars>
          <dgm:dir/>
          <dgm:resizeHandles/>
        </dgm:presLayoutVars>
      </dgm:prSet>
      <dgm:spPr/>
    </dgm:pt>
    <dgm:pt modelId="{5488B0C9-1E52-4919-94C2-7A703096AAF9}" type="pres">
      <dgm:prSet presAssocID="{0F48DFE4-2657-4E7C-944C-6B6EAB30DF78}" presName="pyramid" presStyleLbl="node1" presStyleIdx="0" presStyleCnt="1"/>
      <dgm:spPr/>
    </dgm:pt>
    <dgm:pt modelId="{62CC2684-2885-485F-9F73-4195B00BEC59}" type="pres">
      <dgm:prSet presAssocID="{0F48DFE4-2657-4E7C-944C-6B6EAB30DF78}" presName="theList" presStyleCnt="0"/>
      <dgm:spPr/>
    </dgm:pt>
    <dgm:pt modelId="{A1C59786-7703-4607-8B95-32DF100A29D8}" type="pres">
      <dgm:prSet presAssocID="{68101554-C69F-4FEB-83AF-6100926A1A43}" presName="aNode" presStyleLbl="fgAcc1" presStyleIdx="0" presStyleCnt="4">
        <dgm:presLayoutVars>
          <dgm:bulletEnabled val="1"/>
        </dgm:presLayoutVars>
      </dgm:prSet>
      <dgm:spPr/>
    </dgm:pt>
    <dgm:pt modelId="{F75C0EC3-F4C5-47E0-A3C4-4CCEA9DFCC8B}" type="pres">
      <dgm:prSet presAssocID="{68101554-C69F-4FEB-83AF-6100926A1A43}" presName="aSpace" presStyleCnt="0"/>
      <dgm:spPr/>
    </dgm:pt>
    <dgm:pt modelId="{658710C2-F6B2-439F-BE1A-BE6AD5B72846}" type="pres">
      <dgm:prSet presAssocID="{82AC556D-E107-46B2-8228-236C82B1C774}" presName="aNode" presStyleLbl="fgAcc1" presStyleIdx="1" presStyleCnt="4">
        <dgm:presLayoutVars>
          <dgm:bulletEnabled val="1"/>
        </dgm:presLayoutVars>
      </dgm:prSet>
      <dgm:spPr/>
    </dgm:pt>
    <dgm:pt modelId="{0BC3FF34-21AF-4967-BE7E-94D84F541E64}" type="pres">
      <dgm:prSet presAssocID="{82AC556D-E107-46B2-8228-236C82B1C774}" presName="aSpace" presStyleCnt="0"/>
      <dgm:spPr/>
    </dgm:pt>
    <dgm:pt modelId="{8EDCBFF8-6AC6-46DB-9156-DB2151ED5620}" type="pres">
      <dgm:prSet presAssocID="{0E238A8E-F109-45BC-B12B-67DD28469454}" presName="aNode" presStyleLbl="fgAcc1" presStyleIdx="2" presStyleCnt="4">
        <dgm:presLayoutVars>
          <dgm:bulletEnabled val="1"/>
        </dgm:presLayoutVars>
      </dgm:prSet>
      <dgm:spPr/>
    </dgm:pt>
    <dgm:pt modelId="{7110C45E-0FC2-4AD1-ABC2-B5AC6C6EE1D0}" type="pres">
      <dgm:prSet presAssocID="{0E238A8E-F109-45BC-B12B-67DD28469454}" presName="aSpace" presStyleCnt="0"/>
      <dgm:spPr/>
    </dgm:pt>
    <dgm:pt modelId="{57DF5224-F06E-4394-A5CD-A5786E658DBE}" type="pres">
      <dgm:prSet presAssocID="{09D93CE7-7140-4598-AC80-4726DD8F9369}" presName="aNode" presStyleLbl="fgAcc1" presStyleIdx="3" presStyleCnt="4">
        <dgm:presLayoutVars>
          <dgm:bulletEnabled val="1"/>
        </dgm:presLayoutVars>
      </dgm:prSet>
      <dgm:spPr/>
    </dgm:pt>
    <dgm:pt modelId="{559BA640-2A67-44A6-B2D3-82153A6AE570}" type="pres">
      <dgm:prSet presAssocID="{09D93CE7-7140-4598-AC80-4726DD8F9369}" presName="aSpace" presStyleCnt="0"/>
      <dgm:spPr/>
    </dgm:pt>
  </dgm:ptLst>
  <dgm:cxnLst>
    <dgm:cxn modelId="{58B0BB17-6563-4795-B765-1B5F0A632023}" srcId="{0F48DFE4-2657-4E7C-944C-6B6EAB30DF78}" destId="{09D93CE7-7140-4598-AC80-4726DD8F9369}" srcOrd="3" destOrd="0" parTransId="{12E5065B-D0E1-47B4-91AF-82318397BBA7}" sibTransId="{05F60A09-7F1D-4A8F-B916-B0A21CAE6494}"/>
    <dgm:cxn modelId="{F8CBA91F-CD60-473E-997B-794785B91BA7}" type="presOf" srcId="{68101554-C69F-4FEB-83AF-6100926A1A43}" destId="{A1C59786-7703-4607-8B95-32DF100A29D8}" srcOrd="0" destOrd="0" presId="urn:microsoft.com/office/officeart/2005/8/layout/pyramid2"/>
    <dgm:cxn modelId="{BB2C8667-0B7F-409B-B3F6-7C021D740908}" srcId="{0F48DFE4-2657-4E7C-944C-6B6EAB30DF78}" destId="{68101554-C69F-4FEB-83AF-6100926A1A43}" srcOrd="0" destOrd="0" parTransId="{5C98C439-8F95-43CE-904D-9AF4BDBF105F}" sibTransId="{69561C55-B02A-482A-A78B-8A896687DC8F}"/>
    <dgm:cxn modelId="{8F54F74E-68E8-4B95-A6D8-726E50ECB164}" type="presOf" srcId="{0F48DFE4-2657-4E7C-944C-6B6EAB30DF78}" destId="{17C19993-2630-427C-B656-4B6F20707773}" srcOrd="0" destOrd="0" presId="urn:microsoft.com/office/officeart/2005/8/layout/pyramid2"/>
    <dgm:cxn modelId="{0924AA89-C0C2-457A-A240-456807E7C51B}" srcId="{0F48DFE4-2657-4E7C-944C-6B6EAB30DF78}" destId="{0E238A8E-F109-45BC-B12B-67DD28469454}" srcOrd="2" destOrd="0" parTransId="{B8280225-1B1B-4EFD-A257-19085BD16E49}" sibTransId="{6FFDB29F-6AAE-42B0-8750-9C50763E6610}"/>
    <dgm:cxn modelId="{7358CEA9-FB37-468C-A896-E6DB25C2AFD6}" type="presOf" srcId="{09D93CE7-7140-4598-AC80-4726DD8F9369}" destId="{57DF5224-F06E-4394-A5CD-A5786E658DBE}" srcOrd="0" destOrd="0" presId="urn:microsoft.com/office/officeart/2005/8/layout/pyramid2"/>
    <dgm:cxn modelId="{726E3BD0-E193-4C61-AACE-6670B01C6AE0}" type="presOf" srcId="{82AC556D-E107-46B2-8228-236C82B1C774}" destId="{658710C2-F6B2-439F-BE1A-BE6AD5B72846}" srcOrd="0" destOrd="0" presId="urn:microsoft.com/office/officeart/2005/8/layout/pyramid2"/>
    <dgm:cxn modelId="{4398E5D0-5EE9-43EB-9E1B-97D0B491B5EE}" srcId="{0F48DFE4-2657-4E7C-944C-6B6EAB30DF78}" destId="{82AC556D-E107-46B2-8228-236C82B1C774}" srcOrd="1" destOrd="0" parTransId="{F5099C40-AEB0-45B9-8705-E195CE5CCDDC}" sibTransId="{81334CAD-DCEB-4EF7-BCA4-EFA2D5FF89B0}"/>
    <dgm:cxn modelId="{0C6D6AE0-0D3D-447C-AE2C-065BF8B2E3CA}" type="presOf" srcId="{0E238A8E-F109-45BC-B12B-67DD28469454}" destId="{8EDCBFF8-6AC6-46DB-9156-DB2151ED5620}" srcOrd="0" destOrd="0" presId="urn:microsoft.com/office/officeart/2005/8/layout/pyramid2"/>
    <dgm:cxn modelId="{5F843F8E-CD20-493B-8546-EEDB406508C3}" type="presParOf" srcId="{17C19993-2630-427C-B656-4B6F20707773}" destId="{5488B0C9-1E52-4919-94C2-7A703096AAF9}" srcOrd="0" destOrd="0" presId="urn:microsoft.com/office/officeart/2005/8/layout/pyramid2"/>
    <dgm:cxn modelId="{B88DFDE0-47B2-4FE8-8452-393AEC8CCF4F}" type="presParOf" srcId="{17C19993-2630-427C-B656-4B6F20707773}" destId="{62CC2684-2885-485F-9F73-4195B00BEC59}" srcOrd="1" destOrd="0" presId="urn:microsoft.com/office/officeart/2005/8/layout/pyramid2"/>
    <dgm:cxn modelId="{D567B636-144B-4364-8435-EABB39FC7BFF}" type="presParOf" srcId="{62CC2684-2885-485F-9F73-4195B00BEC59}" destId="{A1C59786-7703-4607-8B95-32DF100A29D8}" srcOrd="0" destOrd="0" presId="urn:microsoft.com/office/officeart/2005/8/layout/pyramid2"/>
    <dgm:cxn modelId="{446E6192-DCCC-4199-85FB-1797F7B15B68}" type="presParOf" srcId="{62CC2684-2885-485F-9F73-4195B00BEC59}" destId="{F75C0EC3-F4C5-47E0-A3C4-4CCEA9DFCC8B}" srcOrd="1" destOrd="0" presId="urn:microsoft.com/office/officeart/2005/8/layout/pyramid2"/>
    <dgm:cxn modelId="{7B3027E8-300D-4B0A-8977-96473A53537D}" type="presParOf" srcId="{62CC2684-2885-485F-9F73-4195B00BEC59}" destId="{658710C2-F6B2-439F-BE1A-BE6AD5B72846}" srcOrd="2" destOrd="0" presId="urn:microsoft.com/office/officeart/2005/8/layout/pyramid2"/>
    <dgm:cxn modelId="{A0998D98-2C9A-4391-A22A-2ECC5F012464}" type="presParOf" srcId="{62CC2684-2885-485F-9F73-4195B00BEC59}" destId="{0BC3FF34-21AF-4967-BE7E-94D84F541E64}" srcOrd="3" destOrd="0" presId="urn:microsoft.com/office/officeart/2005/8/layout/pyramid2"/>
    <dgm:cxn modelId="{1288EDAF-71D9-4990-B387-F7593EAEEB38}" type="presParOf" srcId="{62CC2684-2885-485F-9F73-4195B00BEC59}" destId="{8EDCBFF8-6AC6-46DB-9156-DB2151ED5620}" srcOrd="4" destOrd="0" presId="urn:microsoft.com/office/officeart/2005/8/layout/pyramid2"/>
    <dgm:cxn modelId="{FB79713B-8F4C-4FC8-9193-4F715743F6B6}" type="presParOf" srcId="{62CC2684-2885-485F-9F73-4195B00BEC59}" destId="{7110C45E-0FC2-4AD1-ABC2-B5AC6C6EE1D0}" srcOrd="5" destOrd="0" presId="urn:microsoft.com/office/officeart/2005/8/layout/pyramid2"/>
    <dgm:cxn modelId="{011F7621-4815-4AE3-9454-DC88E883868A}" type="presParOf" srcId="{62CC2684-2885-485F-9F73-4195B00BEC59}" destId="{57DF5224-F06E-4394-A5CD-A5786E658DBE}" srcOrd="6" destOrd="0" presId="urn:microsoft.com/office/officeart/2005/8/layout/pyramid2"/>
    <dgm:cxn modelId="{1D0A1974-F595-4164-92D6-B37215445A28}" type="presParOf" srcId="{62CC2684-2885-485F-9F73-4195B00BEC59}" destId="{559BA640-2A67-44A6-B2D3-82153A6AE570}" srcOrd="7"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8812341-D9CC-47D4-8CFE-4524CA08BCF3}" type="doc">
      <dgm:prSet loTypeId="urn:microsoft.com/office/officeart/2005/8/layout/hierarchy3" loCatId="hierarchy" qsTypeId="urn:microsoft.com/office/officeart/2005/8/quickstyle/simple1" qsCatId="simple" csTypeId="urn:microsoft.com/office/officeart/2005/8/colors/accent0_3" csCatId="mainScheme" phldr="1"/>
      <dgm:spPr/>
      <dgm:t>
        <a:bodyPr/>
        <a:lstStyle/>
        <a:p>
          <a:endParaRPr lang="en-US"/>
        </a:p>
      </dgm:t>
    </dgm:pt>
    <dgm:pt modelId="{70C6470D-CEB0-4F7B-B4D5-F2EABCB9AF38}">
      <dgm:prSet/>
      <dgm:spPr/>
      <dgm:t>
        <a:bodyPr/>
        <a:lstStyle/>
        <a:p>
          <a:r>
            <a:rPr lang="en-US" baseline="0" dirty="0"/>
            <a:t>More nodes</a:t>
          </a:r>
          <a:endParaRPr lang="en-US" dirty="0"/>
        </a:p>
      </dgm:t>
    </dgm:pt>
    <dgm:pt modelId="{FDA56405-0320-44CD-B330-99C8A5061287}" type="parTrans" cxnId="{436F90A8-492B-4786-91C9-BC7EBF44000E}">
      <dgm:prSet/>
      <dgm:spPr/>
      <dgm:t>
        <a:bodyPr/>
        <a:lstStyle/>
        <a:p>
          <a:endParaRPr lang="en-US"/>
        </a:p>
      </dgm:t>
    </dgm:pt>
    <dgm:pt modelId="{1DDDAA3E-B34E-449C-AAF8-0D566F25F280}" type="sibTrans" cxnId="{436F90A8-492B-4786-91C9-BC7EBF44000E}">
      <dgm:prSet/>
      <dgm:spPr/>
      <dgm:t>
        <a:bodyPr/>
        <a:lstStyle/>
        <a:p>
          <a:endParaRPr lang="en-US"/>
        </a:p>
      </dgm:t>
    </dgm:pt>
    <dgm:pt modelId="{E5D71167-8F42-4037-84D8-FEC1C09FDEB8}">
      <dgm:prSet/>
      <dgm:spPr/>
      <dgm:t>
        <a:bodyPr/>
        <a:lstStyle/>
        <a:p>
          <a:r>
            <a:rPr lang="en-US" baseline="0" dirty="0"/>
            <a:t>Increased TempDB</a:t>
          </a:r>
          <a:endParaRPr lang="en-US" dirty="0"/>
        </a:p>
      </dgm:t>
    </dgm:pt>
    <dgm:pt modelId="{76927C14-0D6A-4DB5-8186-7B662A32D172}" type="parTrans" cxnId="{287FC38C-04E5-4902-AF9E-9E10A35EF33B}">
      <dgm:prSet/>
      <dgm:spPr/>
      <dgm:t>
        <a:bodyPr/>
        <a:lstStyle/>
        <a:p>
          <a:endParaRPr lang="en-US"/>
        </a:p>
      </dgm:t>
    </dgm:pt>
    <dgm:pt modelId="{F06674DD-15BF-4DD3-BAFF-06464C4F1862}" type="sibTrans" cxnId="{287FC38C-04E5-4902-AF9E-9E10A35EF33B}">
      <dgm:prSet/>
      <dgm:spPr/>
      <dgm:t>
        <a:bodyPr/>
        <a:lstStyle/>
        <a:p>
          <a:endParaRPr lang="en-US"/>
        </a:p>
      </dgm:t>
    </dgm:pt>
    <dgm:pt modelId="{3493E2D1-D934-431C-A8EF-E9604500EFA3}">
      <dgm:prSet/>
      <dgm:spPr/>
      <dgm:t>
        <a:bodyPr/>
        <a:lstStyle/>
        <a:p>
          <a:r>
            <a:rPr lang="en-US" baseline="0" dirty="0"/>
            <a:t>Increased memory</a:t>
          </a:r>
          <a:endParaRPr lang="en-US" dirty="0"/>
        </a:p>
      </dgm:t>
    </dgm:pt>
    <dgm:pt modelId="{EF3DA95F-0DC7-45F7-8187-E14EABE0D7C2}" type="parTrans" cxnId="{CA606D8C-7A3C-4B3A-9CC0-9354907F540D}">
      <dgm:prSet/>
      <dgm:spPr/>
      <dgm:t>
        <a:bodyPr/>
        <a:lstStyle/>
        <a:p>
          <a:endParaRPr lang="en-US"/>
        </a:p>
      </dgm:t>
    </dgm:pt>
    <dgm:pt modelId="{6B0546EA-A9AE-4FE0-968C-AE09CD102A3C}" type="sibTrans" cxnId="{CA606D8C-7A3C-4B3A-9CC0-9354907F540D}">
      <dgm:prSet/>
      <dgm:spPr/>
      <dgm:t>
        <a:bodyPr/>
        <a:lstStyle/>
        <a:p>
          <a:endParaRPr lang="en-US"/>
        </a:p>
      </dgm:t>
    </dgm:pt>
    <dgm:pt modelId="{4FFBCEA9-6AAC-49E9-BDCC-C09CD6B7E4C1}">
      <dgm:prSet/>
      <dgm:spPr/>
      <dgm:t>
        <a:bodyPr/>
        <a:lstStyle/>
        <a:p>
          <a:r>
            <a:rPr lang="en-US" baseline="0" dirty="0"/>
            <a:t>More readers</a:t>
          </a:r>
          <a:endParaRPr lang="en-US" dirty="0"/>
        </a:p>
      </dgm:t>
    </dgm:pt>
    <dgm:pt modelId="{9DD6A3D7-70B2-419C-9204-EEBED4B8A517}" type="parTrans" cxnId="{45E372C0-0E56-4D59-875E-DB818C261AB7}">
      <dgm:prSet/>
      <dgm:spPr/>
      <dgm:t>
        <a:bodyPr/>
        <a:lstStyle/>
        <a:p>
          <a:endParaRPr lang="en-US"/>
        </a:p>
      </dgm:t>
    </dgm:pt>
    <dgm:pt modelId="{E702FEB5-B384-45E3-AD78-93E13AE7F27D}" type="sibTrans" cxnId="{45E372C0-0E56-4D59-875E-DB818C261AB7}">
      <dgm:prSet/>
      <dgm:spPr/>
      <dgm:t>
        <a:bodyPr/>
        <a:lstStyle/>
        <a:p>
          <a:endParaRPr lang="en-US"/>
        </a:p>
      </dgm:t>
    </dgm:pt>
    <dgm:pt modelId="{9632A97B-0DFC-489A-8C31-2B8AF45D9181}">
      <dgm:prSet/>
      <dgm:spPr/>
      <dgm:t>
        <a:bodyPr/>
        <a:lstStyle/>
        <a:p>
          <a:r>
            <a:rPr lang="en-US" baseline="0" dirty="0"/>
            <a:t>More concurrency</a:t>
          </a:r>
          <a:endParaRPr lang="en-US" dirty="0"/>
        </a:p>
      </dgm:t>
    </dgm:pt>
    <dgm:pt modelId="{FCBE34C7-AC2E-4125-B814-44F947E518A6}" type="parTrans" cxnId="{2F3F15F8-0C4E-4577-A6CF-A65621DBD1BA}">
      <dgm:prSet/>
      <dgm:spPr/>
      <dgm:t>
        <a:bodyPr/>
        <a:lstStyle/>
        <a:p>
          <a:endParaRPr lang="en-US"/>
        </a:p>
      </dgm:t>
    </dgm:pt>
    <dgm:pt modelId="{D6CF98A6-88D4-4D93-8981-FC5D4AC1E976}" type="sibTrans" cxnId="{2F3F15F8-0C4E-4577-A6CF-A65621DBD1BA}">
      <dgm:prSet/>
      <dgm:spPr/>
      <dgm:t>
        <a:bodyPr/>
        <a:lstStyle/>
        <a:p>
          <a:endParaRPr lang="en-US"/>
        </a:p>
      </dgm:t>
    </dgm:pt>
    <dgm:pt modelId="{37F64C0B-F18C-4A57-B81C-EE8B276DABC4}">
      <dgm:prSet/>
      <dgm:spPr/>
      <dgm:t>
        <a:bodyPr/>
        <a:lstStyle/>
        <a:p>
          <a:r>
            <a:rPr lang="en-US" baseline="0" dirty="0"/>
            <a:t>More compute power</a:t>
          </a:r>
          <a:endParaRPr lang="en-US" dirty="0"/>
        </a:p>
      </dgm:t>
    </dgm:pt>
    <dgm:pt modelId="{8FDCE36E-578C-4A38-8F76-1351F69F3FA6}" type="parTrans" cxnId="{B7D7EC05-1C90-4014-ABCA-60E80A9C499A}">
      <dgm:prSet/>
      <dgm:spPr/>
      <dgm:t>
        <a:bodyPr/>
        <a:lstStyle/>
        <a:p>
          <a:endParaRPr lang="en-US"/>
        </a:p>
      </dgm:t>
    </dgm:pt>
    <dgm:pt modelId="{55EC18F5-A4A2-404F-BD57-509D450B5F25}" type="sibTrans" cxnId="{B7D7EC05-1C90-4014-ABCA-60E80A9C499A}">
      <dgm:prSet/>
      <dgm:spPr/>
      <dgm:t>
        <a:bodyPr/>
        <a:lstStyle/>
        <a:p>
          <a:endParaRPr lang="en-US"/>
        </a:p>
      </dgm:t>
    </dgm:pt>
    <dgm:pt modelId="{8A059FC5-7775-4F25-B87A-6F9941B0BD10}">
      <dgm:prSet/>
      <dgm:spPr/>
      <dgm:t>
        <a:bodyPr/>
        <a:lstStyle/>
        <a:p>
          <a:r>
            <a:rPr lang="en-US" baseline="0"/>
            <a:t>399GB </a:t>
          </a:r>
          <a:r>
            <a:rPr lang="en-US" baseline="0" dirty="0"/>
            <a:t>per node</a:t>
          </a:r>
          <a:endParaRPr lang="en-US" dirty="0"/>
        </a:p>
      </dgm:t>
    </dgm:pt>
    <dgm:pt modelId="{796F9804-0991-4CB1-AE50-3C7E08627044}" type="parTrans" cxnId="{68A7EDF7-46A0-46DA-B85C-C0F854289B6E}">
      <dgm:prSet/>
      <dgm:spPr/>
      <dgm:t>
        <a:bodyPr/>
        <a:lstStyle/>
        <a:p>
          <a:endParaRPr lang="en-US"/>
        </a:p>
      </dgm:t>
    </dgm:pt>
    <dgm:pt modelId="{03F03CC9-7581-4564-A868-DAB57A25BCBD}" type="sibTrans" cxnId="{68A7EDF7-46A0-46DA-B85C-C0F854289B6E}">
      <dgm:prSet/>
      <dgm:spPr/>
      <dgm:t>
        <a:bodyPr/>
        <a:lstStyle/>
        <a:p>
          <a:endParaRPr lang="en-US"/>
        </a:p>
      </dgm:t>
    </dgm:pt>
    <dgm:pt modelId="{99045493-4BA0-41EC-832D-07E77909B94E}">
      <dgm:prSet/>
      <dgm:spPr/>
      <dgm:t>
        <a:bodyPr/>
        <a:lstStyle/>
        <a:p>
          <a:r>
            <a:rPr lang="en-US" baseline="0"/>
            <a:t>300GB </a:t>
          </a:r>
          <a:r>
            <a:rPr lang="en-US" baseline="0" dirty="0"/>
            <a:t>per node</a:t>
          </a:r>
          <a:endParaRPr lang="en-US" dirty="0"/>
        </a:p>
      </dgm:t>
    </dgm:pt>
    <dgm:pt modelId="{132D83F0-5836-4214-A994-905F49E4E9C0}" type="parTrans" cxnId="{636E7345-45F1-4361-B21E-8C453A036ACE}">
      <dgm:prSet/>
      <dgm:spPr/>
      <dgm:t>
        <a:bodyPr/>
        <a:lstStyle/>
        <a:p>
          <a:endParaRPr lang="en-US"/>
        </a:p>
      </dgm:t>
    </dgm:pt>
    <dgm:pt modelId="{A47E68DB-26FA-4F89-A552-AA16CEDFAEDE}" type="sibTrans" cxnId="{636E7345-45F1-4361-B21E-8C453A036ACE}">
      <dgm:prSet/>
      <dgm:spPr/>
      <dgm:t>
        <a:bodyPr/>
        <a:lstStyle/>
        <a:p>
          <a:endParaRPr lang="en-US"/>
        </a:p>
      </dgm:t>
    </dgm:pt>
    <dgm:pt modelId="{4BFCE6EE-0DA8-49DB-AFDE-6BE93FC87EBF}">
      <dgm:prSet/>
      <dgm:spPr/>
      <dgm:t>
        <a:bodyPr/>
        <a:lstStyle/>
        <a:p>
          <a:r>
            <a:rPr lang="en-US" baseline="0" dirty="0"/>
            <a:t> Polybase = 20 per node</a:t>
          </a:r>
          <a:endParaRPr lang="en-US" dirty="0"/>
        </a:p>
      </dgm:t>
    </dgm:pt>
    <dgm:pt modelId="{19863A8D-1966-4BF9-BD55-797E5885AF2C}" type="parTrans" cxnId="{04705452-28D4-4794-8571-D0DCA5B425E2}">
      <dgm:prSet/>
      <dgm:spPr/>
      <dgm:t>
        <a:bodyPr/>
        <a:lstStyle/>
        <a:p>
          <a:endParaRPr lang="en-US"/>
        </a:p>
      </dgm:t>
    </dgm:pt>
    <dgm:pt modelId="{157197F3-E77F-49D4-B15D-73DB3D95F4E2}" type="sibTrans" cxnId="{04705452-28D4-4794-8571-D0DCA5B425E2}">
      <dgm:prSet/>
      <dgm:spPr/>
      <dgm:t>
        <a:bodyPr/>
        <a:lstStyle/>
        <a:p>
          <a:endParaRPr lang="en-US"/>
        </a:p>
      </dgm:t>
    </dgm:pt>
    <dgm:pt modelId="{F7871F1C-9FBE-4A12-9B62-0D7C8E34CBD1}">
      <dgm:prSet/>
      <dgm:spPr/>
      <dgm:t>
        <a:bodyPr/>
        <a:lstStyle/>
        <a:p>
          <a:r>
            <a:rPr lang="en-US" baseline="0"/>
            <a:t> </a:t>
          </a:r>
          <a:r>
            <a:rPr lang="en-US" baseline="0" dirty="0"/>
            <a:t>COPY is up to 75 per node</a:t>
          </a:r>
          <a:endParaRPr lang="en-US" dirty="0"/>
        </a:p>
      </dgm:t>
    </dgm:pt>
    <dgm:pt modelId="{E2F95106-C442-462F-BAA8-FDE8EE03F56F}" type="parTrans" cxnId="{024BC7CF-18D6-4384-87A7-81BE36DFC942}">
      <dgm:prSet/>
      <dgm:spPr/>
      <dgm:t>
        <a:bodyPr/>
        <a:lstStyle/>
        <a:p>
          <a:endParaRPr lang="en-US"/>
        </a:p>
      </dgm:t>
    </dgm:pt>
    <dgm:pt modelId="{CE55E999-A87D-404A-AA55-636D50A8AD1E}" type="sibTrans" cxnId="{024BC7CF-18D6-4384-87A7-81BE36DFC942}">
      <dgm:prSet/>
      <dgm:spPr/>
      <dgm:t>
        <a:bodyPr/>
        <a:lstStyle/>
        <a:p>
          <a:endParaRPr lang="en-US"/>
        </a:p>
      </dgm:t>
    </dgm:pt>
    <dgm:pt modelId="{1D95D5FF-D89F-4D37-9AA8-13EF4747A56D}">
      <dgm:prSet/>
      <dgm:spPr/>
      <dgm:t>
        <a:bodyPr/>
        <a:lstStyle/>
        <a:p>
          <a:r>
            <a:rPr lang="en-US" baseline="0" dirty="0"/>
            <a:t>Up to 128 @ DW6000c</a:t>
          </a:r>
          <a:endParaRPr lang="en-US" dirty="0"/>
        </a:p>
      </dgm:t>
    </dgm:pt>
    <dgm:pt modelId="{146E7FA2-11F4-45E6-A25D-56F058AF7B85}" type="parTrans" cxnId="{18A27FC6-F02F-4AF3-B2EB-90A71D7C5140}">
      <dgm:prSet/>
      <dgm:spPr/>
      <dgm:t>
        <a:bodyPr/>
        <a:lstStyle/>
        <a:p>
          <a:endParaRPr lang="en-US"/>
        </a:p>
      </dgm:t>
    </dgm:pt>
    <dgm:pt modelId="{2374F6FC-E790-4B90-874E-3956A7BCE270}" type="sibTrans" cxnId="{18A27FC6-F02F-4AF3-B2EB-90A71D7C5140}">
      <dgm:prSet/>
      <dgm:spPr/>
      <dgm:t>
        <a:bodyPr/>
        <a:lstStyle/>
        <a:p>
          <a:endParaRPr lang="en-US"/>
        </a:p>
      </dgm:t>
    </dgm:pt>
    <dgm:pt modelId="{9DBFEEDA-98AC-4A06-8C91-07EA631CF282}" type="pres">
      <dgm:prSet presAssocID="{A8812341-D9CC-47D4-8CFE-4524CA08BCF3}" presName="diagram" presStyleCnt="0">
        <dgm:presLayoutVars>
          <dgm:chPref val="1"/>
          <dgm:dir/>
          <dgm:animOne val="branch"/>
          <dgm:animLvl val="lvl"/>
          <dgm:resizeHandles/>
        </dgm:presLayoutVars>
      </dgm:prSet>
      <dgm:spPr/>
    </dgm:pt>
    <dgm:pt modelId="{1762B656-078E-4646-9BE7-483759869A40}" type="pres">
      <dgm:prSet presAssocID="{70C6470D-CEB0-4F7B-B4D5-F2EABCB9AF38}" presName="root" presStyleCnt="0"/>
      <dgm:spPr/>
    </dgm:pt>
    <dgm:pt modelId="{9F7B884B-5E96-4F63-90BE-4FE9BC37C2DA}" type="pres">
      <dgm:prSet presAssocID="{70C6470D-CEB0-4F7B-B4D5-F2EABCB9AF38}" presName="rootComposite" presStyleCnt="0"/>
      <dgm:spPr/>
    </dgm:pt>
    <dgm:pt modelId="{8772BDFA-DB62-41F7-8032-8B92F248C129}" type="pres">
      <dgm:prSet presAssocID="{70C6470D-CEB0-4F7B-B4D5-F2EABCB9AF38}" presName="rootText" presStyleLbl="node1" presStyleIdx="0" presStyleCnt="5"/>
      <dgm:spPr/>
    </dgm:pt>
    <dgm:pt modelId="{E2B5A324-1729-46AE-B9B0-9FFADC305A19}" type="pres">
      <dgm:prSet presAssocID="{70C6470D-CEB0-4F7B-B4D5-F2EABCB9AF38}" presName="rootConnector" presStyleLbl="node1" presStyleIdx="0" presStyleCnt="5"/>
      <dgm:spPr/>
    </dgm:pt>
    <dgm:pt modelId="{2CB8AEF5-C95B-4543-B9E6-11621C8D199D}" type="pres">
      <dgm:prSet presAssocID="{70C6470D-CEB0-4F7B-B4D5-F2EABCB9AF38}" presName="childShape" presStyleCnt="0"/>
      <dgm:spPr/>
    </dgm:pt>
    <dgm:pt modelId="{79F13DBB-6250-4CCC-9238-1BC21B47AC86}" type="pres">
      <dgm:prSet presAssocID="{8FDCE36E-578C-4A38-8F76-1351F69F3FA6}" presName="Name13" presStyleLbl="parChTrans1D2" presStyleIdx="0" presStyleCnt="6"/>
      <dgm:spPr/>
    </dgm:pt>
    <dgm:pt modelId="{CA0038CF-CBE2-4F04-8717-FF63A5CE7110}" type="pres">
      <dgm:prSet presAssocID="{37F64C0B-F18C-4A57-B81C-EE8B276DABC4}" presName="childText" presStyleLbl="bgAcc1" presStyleIdx="0" presStyleCnt="6">
        <dgm:presLayoutVars>
          <dgm:bulletEnabled val="1"/>
        </dgm:presLayoutVars>
      </dgm:prSet>
      <dgm:spPr/>
    </dgm:pt>
    <dgm:pt modelId="{9F331EC2-23E5-4637-A63A-0664141334E7}" type="pres">
      <dgm:prSet presAssocID="{E5D71167-8F42-4037-84D8-FEC1C09FDEB8}" presName="root" presStyleCnt="0"/>
      <dgm:spPr/>
    </dgm:pt>
    <dgm:pt modelId="{3330C99D-8F0F-42BF-9BCA-39FF3830F62D}" type="pres">
      <dgm:prSet presAssocID="{E5D71167-8F42-4037-84D8-FEC1C09FDEB8}" presName="rootComposite" presStyleCnt="0"/>
      <dgm:spPr/>
    </dgm:pt>
    <dgm:pt modelId="{4F61D88B-FA60-468A-8A39-B60E24FC6449}" type="pres">
      <dgm:prSet presAssocID="{E5D71167-8F42-4037-84D8-FEC1C09FDEB8}" presName="rootText" presStyleLbl="node1" presStyleIdx="1" presStyleCnt="5"/>
      <dgm:spPr/>
    </dgm:pt>
    <dgm:pt modelId="{7C26D268-EE69-48F4-8B54-1C625542F123}" type="pres">
      <dgm:prSet presAssocID="{E5D71167-8F42-4037-84D8-FEC1C09FDEB8}" presName="rootConnector" presStyleLbl="node1" presStyleIdx="1" presStyleCnt="5"/>
      <dgm:spPr/>
    </dgm:pt>
    <dgm:pt modelId="{21B84E25-E2B5-42C6-A216-1A2E31584C82}" type="pres">
      <dgm:prSet presAssocID="{E5D71167-8F42-4037-84D8-FEC1C09FDEB8}" presName="childShape" presStyleCnt="0"/>
      <dgm:spPr/>
    </dgm:pt>
    <dgm:pt modelId="{04D7C0D9-5187-4BAE-9875-AC151CEE7721}" type="pres">
      <dgm:prSet presAssocID="{796F9804-0991-4CB1-AE50-3C7E08627044}" presName="Name13" presStyleLbl="parChTrans1D2" presStyleIdx="1" presStyleCnt="6"/>
      <dgm:spPr/>
    </dgm:pt>
    <dgm:pt modelId="{97E9504E-BA2E-415B-9776-060D549ECCBF}" type="pres">
      <dgm:prSet presAssocID="{8A059FC5-7775-4F25-B87A-6F9941B0BD10}" presName="childText" presStyleLbl="bgAcc1" presStyleIdx="1" presStyleCnt="6">
        <dgm:presLayoutVars>
          <dgm:bulletEnabled val="1"/>
        </dgm:presLayoutVars>
      </dgm:prSet>
      <dgm:spPr/>
    </dgm:pt>
    <dgm:pt modelId="{221A06B0-0CB3-4899-BF7D-95306214137F}" type="pres">
      <dgm:prSet presAssocID="{3493E2D1-D934-431C-A8EF-E9604500EFA3}" presName="root" presStyleCnt="0"/>
      <dgm:spPr/>
    </dgm:pt>
    <dgm:pt modelId="{79C64E32-0AE5-43CB-9F0F-0326A42E18AA}" type="pres">
      <dgm:prSet presAssocID="{3493E2D1-D934-431C-A8EF-E9604500EFA3}" presName="rootComposite" presStyleCnt="0"/>
      <dgm:spPr/>
    </dgm:pt>
    <dgm:pt modelId="{15518B35-0DEF-4E1C-8739-1EF552345864}" type="pres">
      <dgm:prSet presAssocID="{3493E2D1-D934-431C-A8EF-E9604500EFA3}" presName="rootText" presStyleLbl="node1" presStyleIdx="2" presStyleCnt="5"/>
      <dgm:spPr/>
    </dgm:pt>
    <dgm:pt modelId="{BC1E52CB-F590-4564-A6ED-11DFD0489023}" type="pres">
      <dgm:prSet presAssocID="{3493E2D1-D934-431C-A8EF-E9604500EFA3}" presName="rootConnector" presStyleLbl="node1" presStyleIdx="2" presStyleCnt="5"/>
      <dgm:spPr/>
    </dgm:pt>
    <dgm:pt modelId="{605530C2-DF11-4517-BD35-596684493CEB}" type="pres">
      <dgm:prSet presAssocID="{3493E2D1-D934-431C-A8EF-E9604500EFA3}" presName="childShape" presStyleCnt="0"/>
      <dgm:spPr/>
    </dgm:pt>
    <dgm:pt modelId="{C74032C2-DE7D-4F83-8C0A-9F699AC001F2}" type="pres">
      <dgm:prSet presAssocID="{132D83F0-5836-4214-A994-905F49E4E9C0}" presName="Name13" presStyleLbl="parChTrans1D2" presStyleIdx="2" presStyleCnt="6"/>
      <dgm:spPr/>
    </dgm:pt>
    <dgm:pt modelId="{1AE1CB62-EA53-4171-851C-374C083E93C5}" type="pres">
      <dgm:prSet presAssocID="{99045493-4BA0-41EC-832D-07E77909B94E}" presName="childText" presStyleLbl="bgAcc1" presStyleIdx="2" presStyleCnt="6">
        <dgm:presLayoutVars>
          <dgm:bulletEnabled val="1"/>
        </dgm:presLayoutVars>
      </dgm:prSet>
      <dgm:spPr/>
    </dgm:pt>
    <dgm:pt modelId="{254F4C31-E3BA-4BE3-8C74-52FDE10F8DE8}" type="pres">
      <dgm:prSet presAssocID="{4FFBCEA9-6AAC-49E9-BDCC-C09CD6B7E4C1}" presName="root" presStyleCnt="0"/>
      <dgm:spPr/>
    </dgm:pt>
    <dgm:pt modelId="{09083FC7-F5AE-4A44-9BDB-5EE394BC7C5C}" type="pres">
      <dgm:prSet presAssocID="{4FFBCEA9-6AAC-49E9-BDCC-C09CD6B7E4C1}" presName="rootComposite" presStyleCnt="0"/>
      <dgm:spPr/>
    </dgm:pt>
    <dgm:pt modelId="{D4828746-0A20-4283-88BF-BCB99DA69F4C}" type="pres">
      <dgm:prSet presAssocID="{4FFBCEA9-6AAC-49E9-BDCC-C09CD6B7E4C1}" presName="rootText" presStyleLbl="node1" presStyleIdx="3" presStyleCnt="5"/>
      <dgm:spPr/>
    </dgm:pt>
    <dgm:pt modelId="{31A070B7-5C07-4B23-8A4E-42DA75EA46B5}" type="pres">
      <dgm:prSet presAssocID="{4FFBCEA9-6AAC-49E9-BDCC-C09CD6B7E4C1}" presName="rootConnector" presStyleLbl="node1" presStyleIdx="3" presStyleCnt="5"/>
      <dgm:spPr/>
    </dgm:pt>
    <dgm:pt modelId="{234EC996-AB4E-48BF-B16F-4B148440B8E2}" type="pres">
      <dgm:prSet presAssocID="{4FFBCEA9-6AAC-49E9-BDCC-C09CD6B7E4C1}" presName="childShape" presStyleCnt="0"/>
      <dgm:spPr/>
    </dgm:pt>
    <dgm:pt modelId="{009FA064-F174-44C9-9FA0-2165A598C396}" type="pres">
      <dgm:prSet presAssocID="{19863A8D-1966-4BF9-BD55-797E5885AF2C}" presName="Name13" presStyleLbl="parChTrans1D2" presStyleIdx="3" presStyleCnt="6"/>
      <dgm:spPr/>
    </dgm:pt>
    <dgm:pt modelId="{1D797D83-9842-4215-AE64-659CE3BE4663}" type="pres">
      <dgm:prSet presAssocID="{4BFCE6EE-0DA8-49DB-AFDE-6BE93FC87EBF}" presName="childText" presStyleLbl="bgAcc1" presStyleIdx="3" presStyleCnt="6">
        <dgm:presLayoutVars>
          <dgm:bulletEnabled val="1"/>
        </dgm:presLayoutVars>
      </dgm:prSet>
      <dgm:spPr/>
    </dgm:pt>
    <dgm:pt modelId="{E69D5662-B510-4DD3-930D-3CDDD59A85B1}" type="pres">
      <dgm:prSet presAssocID="{E2F95106-C442-462F-BAA8-FDE8EE03F56F}" presName="Name13" presStyleLbl="parChTrans1D2" presStyleIdx="4" presStyleCnt="6"/>
      <dgm:spPr/>
    </dgm:pt>
    <dgm:pt modelId="{FF15FC80-65EF-4F60-8F56-5FCB2E0D7658}" type="pres">
      <dgm:prSet presAssocID="{F7871F1C-9FBE-4A12-9B62-0D7C8E34CBD1}" presName="childText" presStyleLbl="bgAcc1" presStyleIdx="4" presStyleCnt="6">
        <dgm:presLayoutVars>
          <dgm:bulletEnabled val="1"/>
        </dgm:presLayoutVars>
      </dgm:prSet>
      <dgm:spPr/>
    </dgm:pt>
    <dgm:pt modelId="{A1970047-C88B-47E7-B1A1-CFCCF1362E96}" type="pres">
      <dgm:prSet presAssocID="{9632A97B-0DFC-489A-8C31-2B8AF45D9181}" presName="root" presStyleCnt="0"/>
      <dgm:spPr/>
    </dgm:pt>
    <dgm:pt modelId="{353847CC-1C9C-453F-9353-06CE27DD62BE}" type="pres">
      <dgm:prSet presAssocID="{9632A97B-0DFC-489A-8C31-2B8AF45D9181}" presName="rootComposite" presStyleCnt="0"/>
      <dgm:spPr/>
    </dgm:pt>
    <dgm:pt modelId="{3534D797-DDD4-4F0D-8C98-73112111E206}" type="pres">
      <dgm:prSet presAssocID="{9632A97B-0DFC-489A-8C31-2B8AF45D9181}" presName="rootText" presStyleLbl="node1" presStyleIdx="4" presStyleCnt="5"/>
      <dgm:spPr/>
    </dgm:pt>
    <dgm:pt modelId="{BE340E83-74F4-4712-9F0A-587E79B7B28B}" type="pres">
      <dgm:prSet presAssocID="{9632A97B-0DFC-489A-8C31-2B8AF45D9181}" presName="rootConnector" presStyleLbl="node1" presStyleIdx="4" presStyleCnt="5"/>
      <dgm:spPr/>
    </dgm:pt>
    <dgm:pt modelId="{5E4E6166-269C-49B2-8041-3AB4127A4C04}" type="pres">
      <dgm:prSet presAssocID="{9632A97B-0DFC-489A-8C31-2B8AF45D9181}" presName="childShape" presStyleCnt="0"/>
      <dgm:spPr/>
    </dgm:pt>
    <dgm:pt modelId="{5ABF5E67-0AEE-460C-89D9-1D79401AD3FB}" type="pres">
      <dgm:prSet presAssocID="{146E7FA2-11F4-45E6-A25D-56F058AF7B85}" presName="Name13" presStyleLbl="parChTrans1D2" presStyleIdx="5" presStyleCnt="6"/>
      <dgm:spPr/>
    </dgm:pt>
    <dgm:pt modelId="{54780058-BB3B-4068-897D-EA929BB4A701}" type="pres">
      <dgm:prSet presAssocID="{1D95D5FF-D89F-4D37-9AA8-13EF4747A56D}" presName="childText" presStyleLbl="bgAcc1" presStyleIdx="5" presStyleCnt="6">
        <dgm:presLayoutVars>
          <dgm:bulletEnabled val="1"/>
        </dgm:presLayoutVars>
      </dgm:prSet>
      <dgm:spPr/>
    </dgm:pt>
  </dgm:ptLst>
  <dgm:cxnLst>
    <dgm:cxn modelId="{B7D7EC05-1C90-4014-ABCA-60E80A9C499A}" srcId="{70C6470D-CEB0-4F7B-B4D5-F2EABCB9AF38}" destId="{37F64C0B-F18C-4A57-B81C-EE8B276DABC4}" srcOrd="0" destOrd="0" parTransId="{8FDCE36E-578C-4A38-8F76-1351F69F3FA6}" sibTransId="{55EC18F5-A4A2-404F-BD57-509D450B5F25}"/>
    <dgm:cxn modelId="{1440BC19-87BB-440E-87DE-F3DA3DCA7B6B}" type="presOf" srcId="{3493E2D1-D934-431C-A8EF-E9604500EFA3}" destId="{BC1E52CB-F590-4564-A6ED-11DFD0489023}" srcOrd="1" destOrd="0" presId="urn:microsoft.com/office/officeart/2005/8/layout/hierarchy3"/>
    <dgm:cxn modelId="{22498C1B-43CA-4EA5-AA69-283A768B5BD0}" type="presOf" srcId="{146E7FA2-11F4-45E6-A25D-56F058AF7B85}" destId="{5ABF5E67-0AEE-460C-89D9-1D79401AD3FB}" srcOrd="0" destOrd="0" presId="urn:microsoft.com/office/officeart/2005/8/layout/hierarchy3"/>
    <dgm:cxn modelId="{E566E73F-EE33-44D4-98B3-947083600815}" type="presOf" srcId="{4BFCE6EE-0DA8-49DB-AFDE-6BE93FC87EBF}" destId="{1D797D83-9842-4215-AE64-659CE3BE4663}" srcOrd="0" destOrd="0" presId="urn:microsoft.com/office/officeart/2005/8/layout/hierarchy3"/>
    <dgm:cxn modelId="{66EBDE5E-3AE4-43A9-8F41-5E2BBEA72A32}" type="presOf" srcId="{F7871F1C-9FBE-4A12-9B62-0D7C8E34CBD1}" destId="{FF15FC80-65EF-4F60-8F56-5FCB2E0D7658}" srcOrd="0" destOrd="0" presId="urn:microsoft.com/office/officeart/2005/8/layout/hierarchy3"/>
    <dgm:cxn modelId="{636E7345-45F1-4361-B21E-8C453A036ACE}" srcId="{3493E2D1-D934-431C-A8EF-E9604500EFA3}" destId="{99045493-4BA0-41EC-832D-07E77909B94E}" srcOrd="0" destOrd="0" parTransId="{132D83F0-5836-4214-A994-905F49E4E9C0}" sibTransId="{A47E68DB-26FA-4F89-A552-AA16CEDFAEDE}"/>
    <dgm:cxn modelId="{57D0B16A-608F-4771-BBC8-411BD0A83B69}" type="presOf" srcId="{99045493-4BA0-41EC-832D-07E77909B94E}" destId="{1AE1CB62-EA53-4171-851C-374C083E93C5}" srcOrd="0" destOrd="0" presId="urn:microsoft.com/office/officeart/2005/8/layout/hierarchy3"/>
    <dgm:cxn modelId="{04705452-28D4-4794-8571-D0DCA5B425E2}" srcId="{4FFBCEA9-6AAC-49E9-BDCC-C09CD6B7E4C1}" destId="{4BFCE6EE-0DA8-49DB-AFDE-6BE93FC87EBF}" srcOrd="0" destOrd="0" parTransId="{19863A8D-1966-4BF9-BD55-797E5885AF2C}" sibTransId="{157197F3-E77F-49D4-B15D-73DB3D95F4E2}"/>
    <dgm:cxn modelId="{FB777182-BCA5-417E-9D66-C70913024955}" type="presOf" srcId="{1D95D5FF-D89F-4D37-9AA8-13EF4747A56D}" destId="{54780058-BB3B-4068-897D-EA929BB4A701}" srcOrd="0" destOrd="0" presId="urn:microsoft.com/office/officeart/2005/8/layout/hierarchy3"/>
    <dgm:cxn modelId="{200B8D88-D078-4453-BD62-4038E9AAAABE}" type="presOf" srcId="{4FFBCEA9-6AAC-49E9-BDCC-C09CD6B7E4C1}" destId="{31A070B7-5C07-4B23-8A4E-42DA75EA46B5}" srcOrd="1" destOrd="0" presId="urn:microsoft.com/office/officeart/2005/8/layout/hierarchy3"/>
    <dgm:cxn modelId="{0866D988-F37E-461A-B7D7-AE3C20EE66D1}" type="presOf" srcId="{3493E2D1-D934-431C-A8EF-E9604500EFA3}" destId="{15518B35-0DEF-4E1C-8739-1EF552345864}" srcOrd="0" destOrd="0" presId="urn:microsoft.com/office/officeart/2005/8/layout/hierarchy3"/>
    <dgm:cxn modelId="{CA606D8C-7A3C-4B3A-9CC0-9354907F540D}" srcId="{A8812341-D9CC-47D4-8CFE-4524CA08BCF3}" destId="{3493E2D1-D934-431C-A8EF-E9604500EFA3}" srcOrd="2" destOrd="0" parTransId="{EF3DA95F-0DC7-45F7-8187-E14EABE0D7C2}" sibTransId="{6B0546EA-A9AE-4FE0-968C-AE09CD102A3C}"/>
    <dgm:cxn modelId="{287FC38C-04E5-4902-AF9E-9E10A35EF33B}" srcId="{A8812341-D9CC-47D4-8CFE-4524CA08BCF3}" destId="{E5D71167-8F42-4037-84D8-FEC1C09FDEB8}" srcOrd="1" destOrd="0" parTransId="{76927C14-0D6A-4DB5-8186-7B662A32D172}" sibTransId="{F06674DD-15BF-4DD3-BAFF-06464C4F1862}"/>
    <dgm:cxn modelId="{B417819A-0D44-418F-9D41-73C7112145E2}" type="presOf" srcId="{9632A97B-0DFC-489A-8C31-2B8AF45D9181}" destId="{BE340E83-74F4-4712-9F0A-587E79B7B28B}" srcOrd="1" destOrd="0" presId="urn:microsoft.com/office/officeart/2005/8/layout/hierarchy3"/>
    <dgm:cxn modelId="{6B917DA5-8990-4F1F-93EB-0BE543385C47}" type="presOf" srcId="{70C6470D-CEB0-4F7B-B4D5-F2EABCB9AF38}" destId="{E2B5A324-1729-46AE-B9B0-9FFADC305A19}" srcOrd="1" destOrd="0" presId="urn:microsoft.com/office/officeart/2005/8/layout/hierarchy3"/>
    <dgm:cxn modelId="{436F90A8-492B-4786-91C9-BC7EBF44000E}" srcId="{A8812341-D9CC-47D4-8CFE-4524CA08BCF3}" destId="{70C6470D-CEB0-4F7B-B4D5-F2EABCB9AF38}" srcOrd="0" destOrd="0" parTransId="{FDA56405-0320-44CD-B330-99C8A5061287}" sibTransId="{1DDDAA3E-B34E-449C-AAF8-0D566F25F280}"/>
    <dgm:cxn modelId="{28B16EA9-D6F4-4CE6-91C5-7BF00FF61202}" type="presOf" srcId="{8FDCE36E-578C-4A38-8F76-1351F69F3FA6}" destId="{79F13DBB-6250-4CCC-9238-1BC21B47AC86}" srcOrd="0" destOrd="0" presId="urn:microsoft.com/office/officeart/2005/8/layout/hierarchy3"/>
    <dgm:cxn modelId="{E1C2C4B1-D3B2-4F6A-973C-AE8E6355E615}" type="presOf" srcId="{132D83F0-5836-4214-A994-905F49E4E9C0}" destId="{C74032C2-DE7D-4F83-8C0A-9F699AC001F2}" srcOrd="0" destOrd="0" presId="urn:microsoft.com/office/officeart/2005/8/layout/hierarchy3"/>
    <dgm:cxn modelId="{532D98B8-9226-475D-8CC3-B534FF56C143}" type="presOf" srcId="{A8812341-D9CC-47D4-8CFE-4524CA08BCF3}" destId="{9DBFEEDA-98AC-4A06-8C91-07EA631CF282}" srcOrd="0" destOrd="0" presId="urn:microsoft.com/office/officeart/2005/8/layout/hierarchy3"/>
    <dgm:cxn modelId="{BF7F44C0-9187-430B-A71A-032157AAA8F9}" type="presOf" srcId="{9632A97B-0DFC-489A-8C31-2B8AF45D9181}" destId="{3534D797-DDD4-4F0D-8C98-73112111E206}" srcOrd="0" destOrd="0" presId="urn:microsoft.com/office/officeart/2005/8/layout/hierarchy3"/>
    <dgm:cxn modelId="{45E372C0-0E56-4D59-875E-DB818C261AB7}" srcId="{A8812341-D9CC-47D4-8CFE-4524CA08BCF3}" destId="{4FFBCEA9-6AAC-49E9-BDCC-C09CD6B7E4C1}" srcOrd="3" destOrd="0" parTransId="{9DD6A3D7-70B2-419C-9204-EEBED4B8A517}" sibTransId="{E702FEB5-B384-45E3-AD78-93E13AE7F27D}"/>
    <dgm:cxn modelId="{18A27FC6-F02F-4AF3-B2EB-90A71D7C5140}" srcId="{9632A97B-0DFC-489A-8C31-2B8AF45D9181}" destId="{1D95D5FF-D89F-4D37-9AA8-13EF4747A56D}" srcOrd="0" destOrd="0" parTransId="{146E7FA2-11F4-45E6-A25D-56F058AF7B85}" sibTransId="{2374F6FC-E790-4B90-874E-3956A7BCE270}"/>
    <dgm:cxn modelId="{8C3A23CB-3287-4E64-A5EE-A38E83F1737B}" type="presOf" srcId="{37F64C0B-F18C-4A57-B81C-EE8B276DABC4}" destId="{CA0038CF-CBE2-4F04-8717-FF63A5CE7110}" srcOrd="0" destOrd="0" presId="urn:microsoft.com/office/officeart/2005/8/layout/hierarchy3"/>
    <dgm:cxn modelId="{1C08B9CB-D2FC-4804-9C79-A92310AC943F}" type="presOf" srcId="{4FFBCEA9-6AAC-49E9-BDCC-C09CD6B7E4C1}" destId="{D4828746-0A20-4283-88BF-BCB99DA69F4C}" srcOrd="0" destOrd="0" presId="urn:microsoft.com/office/officeart/2005/8/layout/hierarchy3"/>
    <dgm:cxn modelId="{B62885CE-06C3-4B42-A218-DBEC00C32EA0}" type="presOf" srcId="{796F9804-0991-4CB1-AE50-3C7E08627044}" destId="{04D7C0D9-5187-4BAE-9875-AC151CEE7721}" srcOrd="0" destOrd="0" presId="urn:microsoft.com/office/officeart/2005/8/layout/hierarchy3"/>
    <dgm:cxn modelId="{024BC7CF-18D6-4384-87A7-81BE36DFC942}" srcId="{4FFBCEA9-6AAC-49E9-BDCC-C09CD6B7E4C1}" destId="{F7871F1C-9FBE-4A12-9B62-0D7C8E34CBD1}" srcOrd="1" destOrd="0" parTransId="{E2F95106-C442-462F-BAA8-FDE8EE03F56F}" sibTransId="{CE55E999-A87D-404A-AA55-636D50A8AD1E}"/>
    <dgm:cxn modelId="{E84223D0-A0C5-4487-9095-497AB4BB9103}" type="presOf" srcId="{E5D71167-8F42-4037-84D8-FEC1C09FDEB8}" destId="{4F61D88B-FA60-468A-8A39-B60E24FC6449}" srcOrd="0" destOrd="0" presId="urn:microsoft.com/office/officeart/2005/8/layout/hierarchy3"/>
    <dgm:cxn modelId="{325E73D5-4C8C-46BA-8AAA-8647D4D999F1}" type="presOf" srcId="{E5D71167-8F42-4037-84D8-FEC1C09FDEB8}" destId="{7C26D268-EE69-48F4-8B54-1C625542F123}" srcOrd="1" destOrd="0" presId="urn:microsoft.com/office/officeart/2005/8/layout/hierarchy3"/>
    <dgm:cxn modelId="{BFC86DD6-E1D0-401E-B91E-A3BE119D3F2A}" type="presOf" srcId="{19863A8D-1966-4BF9-BD55-797E5885AF2C}" destId="{009FA064-F174-44C9-9FA0-2165A598C396}" srcOrd="0" destOrd="0" presId="urn:microsoft.com/office/officeart/2005/8/layout/hierarchy3"/>
    <dgm:cxn modelId="{7D89ACDF-93D7-404F-8C47-658E3516A9C4}" type="presOf" srcId="{8A059FC5-7775-4F25-B87A-6F9941B0BD10}" destId="{97E9504E-BA2E-415B-9776-060D549ECCBF}" srcOrd="0" destOrd="0" presId="urn:microsoft.com/office/officeart/2005/8/layout/hierarchy3"/>
    <dgm:cxn modelId="{6C65CFEB-D6EB-48AB-9A0D-17FD956BB3C1}" type="presOf" srcId="{70C6470D-CEB0-4F7B-B4D5-F2EABCB9AF38}" destId="{8772BDFA-DB62-41F7-8032-8B92F248C129}" srcOrd="0" destOrd="0" presId="urn:microsoft.com/office/officeart/2005/8/layout/hierarchy3"/>
    <dgm:cxn modelId="{6BE5DCED-30F8-4161-969B-C7FD570B2484}" type="presOf" srcId="{E2F95106-C442-462F-BAA8-FDE8EE03F56F}" destId="{E69D5662-B510-4DD3-930D-3CDDD59A85B1}" srcOrd="0" destOrd="0" presId="urn:microsoft.com/office/officeart/2005/8/layout/hierarchy3"/>
    <dgm:cxn modelId="{68A7EDF7-46A0-46DA-B85C-C0F854289B6E}" srcId="{E5D71167-8F42-4037-84D8-FEC1C09FDEB8}" destId="{8A059FC5-7775-4F25-B87A-6F9941B0BD10}" srcOrd="0" destOrd="0" parTransId="{796F9804-0991-4CB1-AE50-3C7E08627044}" sibTransId="{03F03CC9-7581-4564-A868-DAB57A25BCBD}"/>
    <dgm:cxn modelId="{2F3F15F8-0C4E-4577-A6CF-A65621DBD1BA}" srcId="{A8812341-D9CC-47D4-8CFE-4524CA08BCF3}" destId="{9632A97B-0DFC-489A-8C31-2B8AF45D9181}" srcOrd="4" destOrd="0" parTransId="{FCBE34C7-AC2E-4125-B814-44F947E518A6}" sibTransId="{D6CF98A6-88D4-4D93-8981-FC5D4AC1E976}"/>
    <dgm:cxn modelId="{869EA0E4-E6FE-4853-8941-103D0341462C}" type="presParOf" srcId="{9DBFEEDA-98AC-4A06-8C91-07EA631CF282}" destId="{1762B656-078E-4646-9BE7-483759869A40}" srcOrd="0" destOrd="0" presId="urn:microsoft.com/office/officeart/2005/8/layout/hierarchy3"/>
    <dgm:cxn modelId="{865F4947-EEDA-41C9-B406-F71B4AFD680A}" type="presParOf" srcId="{1762B656-078E-4646-9BE7-483759869A40}" destId="{9F7B884B-5E96-4F63-90BE-4FE9BC37C2DA}" srcOrd="0" destOrd="0" presId="urn:microsoft.com/office/officeart/2005/8/layout/hierarchy3"/>
    <dgm:cxn modelId="{59A86BDA-5940-4FBC-9C4B-3035E317713E}" type="presParOf" srcId="{9F7B884B-5E96-4F63-90BE-4FE9BC37C2DA}" destId="{8772BDFA-DB62-41F7-8032-8B92F248C129}" srcOrd="0" destOrd="0" presId="urn:microsoft.com/office/officeart/2005/8/layout/hierarchy3"/>
    <dgm:cxn modelId="{DA57B66F-9A40-4463-990F-545E5BB72DD0}" type="presParOf" srcId="{9F7B884B-5E96-4F63-90BE-4FE9BC37C2DA}" destId="{E2B5A324-1729-46AE-B9B0-9FFADC305A19}" srcOrd="1" destOrd="0" presId="urn:microsoft.com/office/officeart/2005/8/layout/hierarchy3"/>
    <dgm:cxn modelId="{7FBA1FE1-E761-45BE-9FB6-105E3137185E}" type="presParOf" srcId="{1762B656-078E-4646-9BE7-483759869A40}" destId="{2CB8AEF5-C95B-4543-B9E6-11621C8D199D}" srcOrd="1" destOrd="0" presId="urn:microsoft.com/office/officeart/2005/8/layout/hierarchy3"/>
    <dgm:cxn modelId="{44A6801B-8DFC-4342-9AEC-61D9EBC19819}" type="presParOf" srcId="{2CB8AEF5-C95B-4543-B9E6-11621C8D199D}" destId="{79F13DBB-6250-4CCC-9238-1BC21B47AC86}" srcOrd="0" destOrd="0" presId="urn:microsoft.com/office/officeart/2005/8/layout/hierarchy3"/>
    <dgm:cxn modelId="{ADA942C5-301E-4C3F-879B-80DA0F908CD1}" type="presParOf" srcId="{2CB8AEF5-C95B-4543-B9E6-11621C8D199D}" destId="{CA0038CF-CBE2-4F04-8717-FF63A5CE7110}" srcOrd="1" destOrd="0" presId="urn:microsoft.com/office/officeart/2005/8/layout/hierarchy3"/>
    <dgm:cxn modelId="{128B8191-60F1-478F-838F-2E55F96A00EB}" type="presParOf" srcId="{9DBFEEDA-98AC-4A06-8C91-07EA631CF282}" destId="{9F331EC2-23E5-4637-A63A-0664141334E7}" srcOrd="1" destOrd="0" presId="urn:microsoft.com/office/officeart/2005/8/layout/hierarchy3"/>
    <dgm:cxn modelId="{818D42EA-FF41-47AD-912D-0E91759EF5EE}" type="presParOf" srcId="{9F331EC2-23E5-4637-A63A-0664141334E7}" destId="{3330C99D-8F0F-42BF-9BCA-39FF3830F62D}" srcOrd="0" destOrd="0" presId="urn:microsoft.com/office/officeart/2005/8/layout/hierarchy3"/>
    <dgm:cxn modelId="{3412E620-E5DC-4AE2-89CE-0F6DD9A7C98F}" type="presParOf" srcId="{3330C99D-8F0F-42BF-9BCA-39FF3830F62D}" destId="{4F61D88B-FA60-468A-8A39-B60E24FC6449}" srcOrd="0" destOrd="0" presId="urn:microsoft.com/office/officeart/2005/8/layout/hierarchy3"/>
    <dgm:cxn modelId="{4DE7B8C4-1007-48D2-906C-12CDA618FEC9}" type="presParOf" srcId="{3330C99D-8F0F-42BF-9BCA-39FF3830F62D}" destId="{7C26D268-EE69-48F4-8B54-1C625542F123}" srcOrd="1" destOrd="0" presId="urn:microsoft.com/office/officeart/2005/8/layout/hierarchy3"/>
    <dgm:cxn modelId="{CFB9CFB1-85D1-4652-93EA-E37423D55723}" type="presParOf" srcId="{9F331EC2-23E5-4637-A63A-0664141334E7}" destId="{21B84E25-E2B5-42C6-A216-1A2E31584C82}" srcOrd="1" destOrd="0" presId="urn:microsoft.com/office/officeart/2005/8/layout/hierarchy3"/>
    <dgm:cxn modelId="{1DDEA21B-1860-4C67-B1B7-719136327CC3}" type="presParOf" srcId="{21B84E25-E2B5-42C6-A216-1A2E31584C82}" destId="{04D7C0D9-5187-4BAE-9875-AC151CEE7721}" srcOrd="0" destOrd="0" presId="urn:microsoft.com/office/officeart/2005/8/layout/hierarchy3"/>
    <dgm:cxn modelId="{432C1F6A-44E4-449D-89DE-3958858CB264}" type="presParOf" srcId="{21B84E25-E2B5-42C6-A216-1A2E31584C82}" destId="{97E9504E-BA2E-415B-9776-060D549ECCBF}" srcOrd="1" destOrd="0" presId="urn:microsoft.com/office/officeart/2005/8/layout/hierarchy3"/>
    <dgm:cxn modelId="{563386C4-A396-43F8-90A2-D0FF3AADBDE8}" type="presParOf" srcId="{9DBFEEDA-98AC-4A06-8C91-07EA631CF282}" destId="{221A06B0-0CB3-4899-BF7D-95306214137F}" srcOrd="2" destOrd="0" presId="urn:microsoft.com/office/officeart/2005/8/layout/hierarchy3"/>
    <dgm:cxn modelId="{8E5265AD-7946-4A03-B6A0-232A662EB51F}" type="presParOf" srcId="{221A06B0-0CB3-4899-BF7D-95306214137F}" destId="{79C64E32-0AE5-43CB-9F0F-0326A42E18AA}" srcOrd="0" destOrd="0" presId="urn:microsoft.com/office/officeart/2005/8/layout/hierarchy3"/>
    <dgm:cxn modelId="{80D9AB21-8678-477E-9AE1-174840F0E832}" type="presParOf" srcId="{79C64E32-0AE5-43CB-9F0F-0326A42E18AA}" destId="{15518B35-0DEF-4E1C-8739-1EF552345864}" srcOrd="0" destOrd="0" presId="urn:microsoft.com/office/officeart/2005/8/layout/hierarchy3"/>
    <dgm:cxn modelId="{A2B8C7B8-3475-48C8-8637-10DC279B486D}" type="presParOf" srcId="{79C64E32-0AE5-43CB-9F0F-0326A42E18AA}" destId="{BC1E52CB-F590-4564-A6ED-11DFD0489023}" srcOrd="1" destOrd="0" presId="urn:microsoft.com/office/officeart/2005/8/layout/hierarchy3"/>
    <dgm:cxn modelId="{62EB411D-0994-4EA0-8145-DFEFCB62BB11}" type="presParOf" srcId="{221A06B0-0CB3-4899-BF7D-95306214137F}" destId="{605530C2-DF11-4517-BD35-596684493CEB}" srcOrd="1" destOrd="0" presId="urn:microsoft.com/office/officeart/2005/8/layout/hierarchy3"/>
    <dgm:cxn modelId="{7347A99D-9AB6-428C-BFC2-8D061A33E656}" type="presParOf" srcId="{605530C2-DF11-4517-BD35-596684493CEB}" destId="{C74032C2-DE7D-4F83-8C0A-9F699AC001F2}" srcOrd="0" destOrd="0" presId="urn:microsoft.com/office/officeart/2005/8/layout/hierarchy3"/>
    <dgm:cxn modelId="{8706A5AC-B1C6-4BF4-A547-A875488CAFCF}" type="presParOf" srcId="{605530C2-DF11-4517-BD35-596684493CEB}" destId="{1AE1CB62-EA53-4171-851C-374C083E93C5}" srcOrd="1" destOrd="0" presId="urn:microsoft.com/office/officeart/2005/8/layout/hierarchy3"/>
    <dgm:cxn modelId="{52AE53C2-7C62-4E08-B32F-4C8FE5BC1BF2}" type="presParOf" srcId="{9DBFEEDA-98AC-4A06-8C91-07EA631CF282}" destId="{254F4C31-E3BA-4BE3-8C74-52FDE10F8DE8}" srcOrd="3" destOrd="0" presId="urn:microsoft.com/office/officeart/2005/8/layout/hierarchy3"/>
    <dgm:cxn modelId="{7102B5D0-DB16-4135-8404-455BD3AA985A}" type="presParOf" srcId="{254F4C31-E3BA-4BE3-8C74-52FDE10F8DE8}" destId="{09083FC7-F5AE-4A44-9BDB-5EE394BC7C5C}" srcOrd="0" destOrd="0" presId="urn:microsoft.com/office/officeart/2005/8/layout/hierarchy3"/>
    <dgm:cxn modelId="{58592931-A7C6-42B6-AEA7-BC87A13B3DFF}" type="presParOf" srcId="{09083FC7-F5AE-4A44-9BDB-5EE394BC7C5C}" destId="{D4828746-0A20-4283-88BF-BCB99DA69F4C}" srcOrd="0" destOrd="0" presId="urn:microsoft.com/office/officeart/2005/8/layout/hierarchy3"/>
    <dgm:cxn modelId="{3BA0DFAF-1373-4F7E-8669-767195835381}" type="presParOf" srcId="{09083FC7-F5AE-4A44-9BDB-5EE394BC7C5C}" destId="{31A070B7-5C07-4B23-8A4E-42DA75EA46B5}" srcOrd="1" destOrd="0" presId="urn:microsoft.com/office/officeart/2005/8/layout/hierarchy3"/>
    <dgm:cxn modelId="{D604A7A9-41DE-4C40-9C47-0A3D4B1209D6}" type="presParOf" srcId="{254F4C31-E3BA-4BE3-8C74-52FDE10F8DE8}" destId="{234EC996-AB4E-48BF-B16F-4B148440B8E2}" srcOrd="1" destOrd="0" presId="urn:microsoft.com/office/officeart/2005/8/layout/hierarchy3"/>
    <dgm:cxn modelId="{D6CD6BCF-B34E-4F4E-BD9B-52AB01752D37}" type="presParOf" srcId="{234EC996-AB4E-48BF-B16F-4B148440B8E2}" destId="{009FA064-F174-44C9-9FA0-2165A598C396}" srcOrd="0" destOrd="0" presId="urn:microsoft.com/office/officeart/2005/8/layout/hierarchy3"/>
    <dgm:cxn modelId="{8D183343-CD52-47B4-BDA7-1F095E0D6D35}" type="presParOf" srcId="{234EC996-AB4E-48BF-B16F-4B148440B8E2}" destId="{1D797D83-9842-4215-AE64-659CE3BE4663}" srcOrd="1" destOrd="0" presId="urn:microsoft.com/office/officeart/2005/8/layout/hierarchy3"/>
    <dgm:cxn modelId="{B3D81ABE-7A97-4B5E-B9D6-BFB48A33EE61}" type="presParOf" srcId="{234EC996-AB4E-48BF-B16F-4B148440B8E2}" destId="{E69D5662-B510-4DD3-930D-3CDDD59A85B1}" srcOrd="2" destOrd="0" presId="urn:microsoft.com/office/officeart/2005/8/layout/hierarchy3"/>
    <dgm:cxn modelId="{54150E3B-6226-4B14-A705-E519C69EE8D1}" type="presParOf" srcId="{234EC996-AB4E-48BF-B16F-4B148440B8E2}" destId="{FF15FC80-65EF-4F60-8F56-5FCB2E0D7658}" srcOrd="3" destOrd="0" presId="urn:microsoft.com/office/officeart/2005/8/layout/hierarchy3"/>
    <dgm:cxn modelId="{153A7D4C-34DF-4B7F-86C1-52F46E627C22}" type="presParOf" srcId="{9DBFEEDA-98AC-4A06-8C91-07EA631CF282}" destId="{A1970047-C88B-47E7-B1A1-CFCCF1362E96}" srcOrd="4" destOrd="0" presId="urn:microsoft.com/office/officeart/2005/8/layout/hierarchy3"/>
    <dgm:cxn modelId="{7D39BF93-AD19-42E2-BE17-14034191BF05}" type="presParOf" srcId="{A1970047-C88B-47E7-B1A1-CFCCF1362E96}" destId="{353847CC-1C9C-453F-9353-06CE27DD62BE}" srcOrd="0" destOrd="0" presId="urn:microsoft.com/office/officeart/2005/8/layout/hierarchy3"/>
    <dgm:cxn modelId="{844C7B0A-C7F8-4364-BAED-BBEB620282B8}" type="presParOf" srcId="{353847CC-1C9C-453F-9353-06CE27DD62BE}" destId="{3534D797-DDD4-4F0D-8C98-73112111E206}" srcOrd="0" destOrd="0" presId="urn:microsoft.com/office/officeart/2005/8/layout/hierarchy3"/>
    <dgm:cxn modelId="{2C93EAC8-B581-44B3-A332-6B8D34DEAD94}" type="presParOf" srcId="{353847CC-1C9C-453F-9353-06CE27DD62BE}" destId="{BE340E83-74F4-4712-9F0A-587E79B7B28B}" srcOrd="1" destOrd="0" presId="urn:microsoft.com/office/officeart/2005/8/layout/hierarchy3"/>
    <dgm:cxn modelId="{5C55D087-9C69-4F16-806B-7928BDC39392}" type="presParOf" srcId="{A1970047-C88B-47E7-B1A1-CFCCF1362E96}" destId="{5E4E6166-269C-49B2-8041-3AB4127A4C04}" srcOrd="1" destOrd="0" presId="urn:microsoft.com/office/officeart/2005/8/layout/hierarchy3"/>
    <dgm:cxn modelId="{2292ADED-C5D0-48AE-8AB6-ACB29DFA5CFB}" type="presParOf" srcId="{5E4E6166-269C-49B2-8041-3AB4127A4C04}" destId="{5ABF5E67-0AEE-460C-89D9-1D79401AD3FB}" srcOrd="0" destOrd="0" presId="urn:microsoft.com/office/officeart/2005/8/layout/hierarchy3"/>
    <dgm:cxn modelId="{4F36E975-ECD4-4B8D-91AD-08254B1DCB19}" type="presParOf" srcId="{5E4E6166-269C-49B2-8041-3AB4127A4C04}" destId="{54780058-BB3B-4068-897D-EA929BB4A701}"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5F446D-D909-4483-857B-119555281255}">
      <dsp:nvSpPr>
        <dsp:cNvPr id="0" name=""/>
        <dsp:cNvSpPr/>
      </dsp:nvSpPr>
      <dsp:spPr>
        <a:xfrm>
          <a:off x="0" y="224337"/>
          <a:ext cx="11420933" cy="921375"/>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6391" tIns="312420" rIns="886391"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baseline="0" dirty="0"/>
            <a:t>Analyze the workload on the system</a:t>
          </a:r>
          <a:endParaRPr lang="en-US" sz="1500" kern="1200" dirty="0"/>
        </a:p>
        <a:p>
          <a:pPr marL="114300" lvl="1" indent="-114300" algn="l" defTabSz="666750">
            <a:lnSpc>
              <a:spcPct val="90000"/>
            </a:lnSpc>
            <a:spcBef>
              <a:spcPct val="0"/>
            </a:spcBef>
            <a:spcAft>
              <a:spcPct val="15000"/>
            </a:spcAft>
            <a:buChar char="•"/>
          </a:pPr>
          <a:r>
            <a:rPr lang="en-US" sz="1500" kern="1200" baseline="0"/>
            <a:t>Identify areas of concern</a:t>
          </a:r>
          <a:endParaRPr lang="en-US" sz="1500" kern="1200"/>
        </a:p>
      </dsp:txBody>
      <dsp:txXfrm>
        <a:off x="0" y="224337"/>
        <a:ext cx="11420933" cy="921375"/>
      </dsp:txXfrm>
    </dsp:sp>
    <dsp:sp modelId="{65F37D4D-A306-4785-8F3A-7E2380462479}">
      <dsp:nvSpPr>
        <dsp:cNvPr id="0" name=""/>
        <dsp:cNvSpPr/>
      </dsp:nvSpPr>
      <dsp:spPr>
        <a:xfrm>
          <a:off x="571046" y="2937"/>
          <a:ext cx="7994653" cy="442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2179" tIns="0" rIns="302179" bIns="0" numCol="1" spcCol="1270" anchor="ctr" anchorCtr="0">
          <a:noAutofit/>
        </a:bodyPr>
        <a:lstStyle/>
        <a:p>
          <a:pPr marL="0" lvl="0" indent="0" algn="l" defTabSz="889000">
            <a:lnSpc>
              <a:spcPct val="90000"/>
            </a:lnSpc>
            <a:spcBef>
              <a:spcPct val="0"/>
            </a:spcBef>
            <a:spcAft>
              <a:spcPct val="35000"/>
            </a:spcAft>
            <a:buNone/>
          </a:pPr>
          <a:r>
            <a:rPr lang="en-US" sz="2000" kern="1200" baseline="0"/>
            <a:t>DWU Usage metrics</a:t>
          </a:r>
          <a:endParaRPr lang="en-US" sz="2000" kern="1200"/>
        </a:p>
      </dsp:txBody>
      <dsp:txXfrm>
        <a:off x="592662" y="24553"/>
        <a:ext cx="7951421" cy="399568"/>
      </dsp:txXfrm>
    </dsp:sp>
    <dsp:sp modelId="{6B0A28A1-C711-4A67-8585-52D66459B12D}">
      <dsp:nvSpPr>
        <dsp:cNvPr id="0" name=""/>
        <dsp:cNvSpPr/>
      </dsp:nvSpPr>
      <dsp:spPr>
        <a:xfrm>
          <a:off x="0" y="1448112"/>
          <a:ext cx="11420933" cy="649687"/>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6391" tIns="312420" rIns="886391"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baseline="0"/>
            <a:t>Analyze concurrency and resource waits</a:t>
          </a:r>
          <a:endParaRPr lang="en-US" sz="1500" kern="1200"/>
        </a:p>
      </dsp:txBody>
      <dsp:txXfrm>
        <a:off x="0" y="1448112"/>
        <a:ext cx="11420933" cy="649687"/>
      </dsp:txXfrm>
    </dsp:sp>
    <dsp:sp modelId="{A6E308E3-0904-4C3C-ADBA-A5E7AA1AB182}">
      <dsp:nvSpPr>
        <dsp:cNvPr id="0" name=""/>
        <dsp:cNvSpPr/>
      </dsp:nvSpPr>
      <dsp:spPr>
        <a:xfrm>
          <a:off x="571046" y="1226712"/>
          <a:ext cx="7994653" cy="442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2179" tIns="0" rIns="302179" bIns="0" numCol="1" spcCol="1270" anchor="ctr" anchorCtr="0">
          <a:noAutofit/>
        </a:bodyPr>
        <a:lstStyle/>
        <a:p>
          <a:pPr marL="0" lvl="0" indent="0" algn="l" defTabSz="889000">
            <a:lnSpc>
              <a:spcPct val="90000"/>
            </a:lnSpc>
            <a:spcBef>
              <a:spcPct val="0"/>
            </a:spcBef>
            <a:spcAft>
              <a:spcPct val="35000"/>
            </a:spcAft>
            <a:buNone/>
          </a:pPr>
          <a:r>
            <a:rPr lang="en-US" sz="2000" kern="1200" baseline="0"/>
            <a:t>Active &amp; queued queries</a:t>
          </a:r>
          <a:endParaRPr lang="en-US" sz="2000" kern="1200"/>
        </a:p>
      </dsp:txBody>
      <dsp:txXfrm>
        <a:off x="592662" y="1248328"/>
        <a:ext cx="7951421" cy="399568"/>
      </dsp:txXfrm>
    </dsp:sp>
    <dsp:sp modelId="{DC6294EE-2CAE-4DE2-9BED-8EC2E80624E6}">
      <dsp:nvSpPr>
        <dsp:cNvPr id="0" name=""/>
        <dsp:cNvSpPr/>
      </dsp:nvSpPr>
      <dsp:spPr>
        <a:xfrm>
          <a:off x="0" y="2400200"/>
          <a:ext cx="11420933" cy="649687"/>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6391" tIns="312420" rIns="886391"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baseline="0"/>
            <a:t>Security auditing</a:t>
          </a:r>
          <a:endParaRPr lang="en-US" sz="1500" kern="1200"/>
        </a:p>
      </dsp:txBody>
      <dsp:txXfrm>
        <a:off x="0" y="2400200"/>
        <a:ext cx="11420933" cy="649687"/>
      </dsp:txXfrm>
    </dsp:sp>
    <dsp:sp modelId="{C1059668-8907-4406-892C-C52AFE8826CD}">
      <dsp:nvSpPr>
        <dsp:cNvPr id="0" name=""/>
        <dsp:cNvSpPr/>
      </dsp:nvSpPr>
      <dsp:spPr>
        <a:xfrm>
          <a:off x="571046" y="2178800"/>
          <a:ext cx="7994653" cy="442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2179" tIns="0" rIns="302179" bIns="0" numCol="1" spcCol="1270" anchor="ctr" anchorCtr="0">
          <a:noAutofit/>
        </a:bodyPr>
        <a:lstStyle/>
        <a:p>
          <a:pPr marL="0" lvl="0" indent="0" algn="l" defTabSz="889000">
            <a:lnSpc>
              <a:spcPct val="90000"/>
            </a:lnSpc>
            <a:spcBef>
              <a:spcPct val="0"/>
            </a:spcBef>
            <a:spcAft>
              <a:spcPct val="35000"/>
            </a:spcAft>
            <a:buNone/>
          </a:pPr>
          <a:r>
            <a:rPr lang="en-US" sz="2000" kern="1200" baseline="0"/>
            <a:t>Successful and failed connections</a:t>
          </a:r>
          <a:endParaRPr lang="en-US" sz="2000" kern="1200"/>
        </a:p>
      </dsp:txBody>
      <dsp:txXfrm>
        <a:off x="592662" y="2200416"/>
        <a:ext cx="7951421" cy="399568"/>
      </dsp:txXfrm>
    </dsp:sp>
    <dsp:sp modelId="{2B317BF3-9156-4B1B-9593-572DDFD5E885}">
      <dsp:nvSpPr>
        <dsp:cNvPr id="0" name=""/>
        <dsp:cNvSpPr/>
      </dsp:nvSpPr>
      <dsp:spPr>
        <a:xfrm>
          <a:off x="0" y="3352287"/>
          <a:ext cx="11420933" cy="921375"/>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6391" tIns="312420" rIns="886391"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baseline="0"/>
            <a:t>Analyze effective cache usage</a:t>
          </a:r>
          <a:endParaRPr lang="en-US" sz="1500" kern="1200"/>
        </a:p>
        <a:p>
          <a:pPr marL="114300" lvl="1" indent="-114300" algn="l" defTabSz="666750">
            <a:lnSpc>
              <a:spcPct val="90000"/>
            </a:lnSpc>
            <a:spcBef>
              <a:spcPct val="0"/>
            </a:spcBef>
            <a:spcAft>
              <a:spcPct val="15000"/>
            </a:spcAft>
            <a:buChar char="•"/>
          </a:pPr>
          <a:r>
            <a:rPr lang="en-US" sz="1500" kern="1200" baseline="0"/>
            <a:t>Proper SLO sizing</a:t>
          </a:r>
          <a:endParaRPr lang="en-US" sz="1500" kern="1200"/>
        </a:p>
      </dsp:txBody>
      <dsp:txXfrm>
        <a:off x="0" y="3352287"/>
        <a:ext cx="11420933" cy="921375"/>
      </dsp:txXfrm>
    </dsp:sp>
    <dsp:sp modelId="{E11FAC62-B53A-476B-A2FB-1DF76FC75796}">
      <dsp:nvSpPr>
        <dsp:cNvPr id="0" name=""/>
        <dsp:cNvSpPr/>
      </dsp:nvSpPr>
      <dsp:spPr>
        <a:xfrm>
          <a:off x="571046" y="3130887"/>
          <a:ext cx="7994653" cy="442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2179" tIns="0" rIns="302179" bIns="0" numCol="1" spcCol="1270" anchor="ctr" anchorCtr="0">
          <a:noAutofit/>
        </a:bodyPr>
        <a:lstStyle/>
        <a:p>
          <a:pPr marL="0" lvl="0" indent="0" algn="l" defTabSz="889000">
            <a:lnSpc>
              <a:spcPct val="90000"/>
            </a:lnSpc>
            <a:spcBef>
              <a:spcPct val="0"/>
            </a:spcBef>
            <a:spcAft>
              <a:spcPct val="35000"/>
            </a:spcAft>
            <a:buNone/>
          </a:pPr>
          <a:r>
            <a:rPr lang="en-US" sz="2000" kern="1200" baseline="0"/>
            <a:t>Cache Usage</a:t>
          </a:r>
          <a:endParaRPr lang="en-US" sz="2000" kern="1200"/>
        </a:p>
      </dsp:txBody>
      <dsp:txXfrm>
        <a:off x="592662" y="3152503"/>
        <a:ext cx="7951421" cy="399568"/>
      </dsp:txXfrm>
    </dsp:sp>
    <dsp:sp modelId="{B411C600-3C41-470F-A176-B1C28B092080}">
      <dsp:nvSpPr>
        <dsp:cNvPr id="0" name=""/>
        <dsp:cNvSpPr/>
      </dsp:nvSpPr>
      <dsp:spPr>
        <a:xfrm>
          <a:off x="0" y="4576062"/>
          <a:ext cx="11420933" cy="649687"/>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6391" tIns="312420" rIns="886391"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baseline="0" dirty="0"/>
            <a:t>Analyze workload management effectiveness</a:t>
          </a:r>
          <a:endParaRPr lang="en-US" sz="1500" kern="1200" dirty="0"/>
        </a:p>
      </dsp:txBody>
      <dsp:txXfrm>
        <a:off x="0" y="4576062"/>
        <a:ext cx="11420933" cy="649687"/>
      </dsp:txXfrm>
    </dsp:sp>
    <dsp:sp modelId="{507851D4-219F-4979-A0F4-15A753099BDC}">
      <dsp:nvSpPr>
        <dsp:cNvPr id="0" name=""/>
        <dsp:cNvSpPr/>
      </dsp:nvSpPr>
      <dsp:spPr>
        <a:xfrm>
          <a:off x="571046" y="4354662"/>
          <a:ext cx="7994653" cy="442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2179" tIns="0" rIns="302179" bIns="0" numCol="1" spcCol="1270" anchor="ctr" anchorCtr="0">
          <a:noAutofit/>
        </a:bodyPr>
        <a:lstStyle/>
        <a:p>
          <a:pPr marL="0" lvl="0" indent="0" algn="l" defTabSz="889000">
            <a:lnSpc>
              <a:spcPct val="90000"/>
            </a:lnSpc>
            <a:spcBef>
              <a:spcPct val="0"/>
            </a:spcBef>
            <a:spcAft>
              <a:spcPct val="35000"/>
            </a:spcAft>
            <a:buNone/>
          </a:pPr>
          <a:r>
            <a:rPr lang="en-US" sz="2000" kern="1200" baseline="0"/>
            <a:t>Workload Group metrics</a:t>
          </a:r>
          <a:endParaRPr lang="en-US" sz="2000" kern="1200"/>
        </a:p>
      </dsp:txBody>
      <dsp:txXfrm>
        <a:off x="592662" y="4376278"/>
        <a:ext cx="7951421" cy="39956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81" cy="302057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kern="1200" baseline="0" dirty="0"/>
            <a:t>By Scaling Up you can benefit from </a:t>
          </a:r>
          <a:endParaRPr lang="en-US" sz="2600" kern="1200" dirty="0"/>
        </a:p>
      </dsp:txBody>
      <dsp:txXfrm>
        <a:off x="0" y="1208231"/>
        <a:ext cx="3100581" cy="1208231"/>
      </dsp:txXfrm>
    </dsp:sp>
    <dsp:sp modelId="{41B5F4A1-82D4-4720-8B78-273D2F9A3449}">
      <dsp:nvSpPr>
        <dsp:cNvPr id="0" name=""/>
        <dsp:cNvSpPr/>
      </dsp:nvSpPr>
      <dsp:spPr>
        <a:xfrm>
          <a:off x="1047364" y="181234"/>
          <a:ext cx="1005852" cy="100585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4" cy="453086"/>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02057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dirty="0"/>
            <a:t>In Log Analytics you Pay-by-Ingestion</a:t>
          </a:r>
        </a:p>
      </dsp:txBody>
      <dsp:txXfrm>
        <a:off x="0" y="1208231"/>
        <a:ext cx="3100579" cy="1208231"/>
      </dsp:txXfrm>
    </dsp:sp>
    <dsp:sp modelId="{41B5F4A1-82D4-4720-8B78-273D2F9A3449}">
      <dsp:nvSpPr>
        <dsp:cNvPr id="0" name=""/>
        <dsp:cNvSpPr/>
      </dsp:nvSpPr>
      <dsp:spPr>
        <a:xfrm>
          <a:off x="1047363" y="181234"/>
          <a:ext cx="1005852" cy="100585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2" cy="453086"/>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02057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dirty="0"/>
            <a:t>When you scale up you get “X” readers per node for Polybase</a:t>
          </a:r>
          <a:endParaRPr lang="en-US" sz="2000" kern="1200" dirty="0"/>
        </a:p>
      </dsp:txBody>
      <dsp:txXfrm>
        <a:off x="0" y="1208231"/>
        <a:ext cx="3100579" cy="1208231"/>
      </dsp:txXfrm>
    </dsp:sp>
    <dsp:sp modelId="{41B5F4A1-82D4-4720-8B78-273D2F9A3449}">
      <dsp:nvSpPr>
        <dsp:cNvPr id="0" name=""/>
        <dsp:cNvSpPr/>
      </dsp:nvSpPr>
      <dsp:spPr>
        <a:xfrm>
          <a:off x="1047363" y="181234"/>
          <a:ext cx="1005852" cy="100585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2" cy="453086"/>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020577"/>
        </a:xfrm>
        <a:prstGeom prst="roundRect">
          <a:avLst>
            <a:gd name="adj" fmla="val 10000"/>
          </a:avLst>
        </a:prstGeom>
        <a:solidFill>
          <a:schemeClr val="accent3">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dirty="0"/>
            <a:t>When you scale up you get “X” readers per node for COPY</a:t>
          </a:r>
          <a:endParaRPr lang="en-US" sz="2000" kern="1200" dirty="0"/>
        </a:p>
      </dsp:txBody>
      <dsp:txXfrm>
        <a:off x="0" y="1208231"/>
        <a:ext cx="3100579" cy="1208231"/>
      </dsp:txXfrm>
    </dsp:sp>
    <dsp:sp modelId="{41B5F4A1-82D4-4720-8B78-273D2F9A3449}">
      <dsp:nvSpPr>
        <dsp:cNvPr id="0" name=""/>
        <dsp:cNvSpPr/>
      </dsp:nvSpPr>
      <dsp:spPr>
        <a:xfrm>
          <a:off x="1047363" y="181234"/>
          <a:ext cx="1005852" cy="100585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2" cy="453086"/>
        </a:xfrm>
        <a:prstGeom prst="leftRight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42891A-472D-4721-9991-0B11C540B3B7}">
      <dsp:nvSpPr>
        <dsp:cNvPr id="0" name=""/>
        <dsp:cNvSpPr/>
      </dsp:nvSpPr>
      <dsp:spPr>
        <a:xfrm>
          <a:off x="0" y="273440"/>
          <a:ext cx="11098906" cy="403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4652A6A-0D82-4255-83DD-407C1A5FE4B9}">
      <dsp:nvSpPr>
        <dsp:cNvPr id="0" name=""/>
        <dsp:cNvSpPr/>
      </dsp:nvSpPr>
      <dsp:spPr>
        <a:xfrm>
          <a:off x="554945" y="37280"/>
          <a:ext cx="7769234"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889000">
            <a:lnSpc>
              <a:spcPct val="90000"/>
            </a:lnSpc>
            <a:spcBef>
              <a:spcPct val="0"/>
            </a:spcBef>
            <a:spcAft>
              <a:spcPct val="35000"/>
            </a:spcAft>
            <a:buNone/>
          </a:pPr>
          <a:r>
            <a:rPr lang="en-US" sz="2000" kern="1200" baseline="0"/>
            <a:t>Append-only log data</a:t>
          </a:r>
          <a:endParaRPr lang="en-US" sz="2000" kern="1200"/>
        </a:p>
      </dsp:txBody>
      <dsp:txXfrm>
        <a:off x="578002" y="60337"/>
        <a:ext cx="7723120" cy="426206"/>
      </dsp:txXfrm>
    </dsp:sp>
    <dsp:sp modelId="{CB134718-C98F-4058-B691-9C36E36B0687}">
      <dsp:nvSpPr>
        <dsp:cNvPr id="0" name=""/>
        <dsp:cNvSpPr/>
      </dsp:nvSpPr>
      <dsp:spPr>
        <a:xfrm>
          <a:off x="0" y="999200"/>
          <a:ext cx="11098906" cy="6930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399" tIns="333248" rIns="861399"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baseline="0"/>
            <a:t>SQL-Like language</a:t>
          </a:r>
          <a:endParaRPr lang="en-US" sz="1600" kern="1200"/>
        </a:p>
      </dsp:txBody>
      <dsp:txXfrm>
        <a:off x="0" y="999200"/>
        <a:ext cx="11098906" cy="693000"/>
      </dsp:txXfrm>
    </dsp:sp>
    <dsp:sp modelId="{0D78B05D-CFCC-44E8-BB24-CA4A39117823}">
      <dsp:nvSpPr>
        <dsp:cNvPr id="0" name=""/>
        <dsp:cNvSpPr/>
      </dsp:nvSpPr>
      <dsp:spPr>
        <a:xfrm>
          <a:off x="554945" y="763040"/>
          <a:ext cx="7769234"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889000">
            <a:lnSpc>
              <a:spcPct val="90000"/>
            </a:lnSpc>
            <a:spcBef>
              <a:spcPct val="0"/>
            </a:spcBef>
            <a:spcAft>
              <a:spcPct val="35000"/>
            </a:spcAft>
            <a:buNone/>
          </a:pPr>
          <a:r>
            <a:rPr lang="en-US" sz="2000" kern="1200" baseline="0" dirty="0"/>
            <a:t>Queried using Kusto Query Language (KQL)</a:t>
          </a:r>
          <a:endParaRPr lang="en-US" sz="2000" kern="1200" dirty="0"/>
        </a:p>
      </dsp:txBody>
      <dsp:txXfrm>
        <a:off x="578002" y="786097"/>
        <a:ext cx="7723120" cy="426206"/>
      </dsp:txXfrm>
    </dsp:sp>
    <dsp:sp modelId="{70CB5B88-B176-4B68-8EA3-2590F48FCC40}">
      <dsp:nvSpPr>
        <dsp:cNvPr id="0" name=""/>
        <dsp:cNvSpPr/>
      </dsp:nvSpPr>
      <dsp:spPr>
        <a:xfrm>
          <a:off x="0" y="2014760"/>
          <a:ext cx="11098906" cy="982799"/>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399" tIns="333248" rIns="861399"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baseline="0"/>
            <a:t>Pay-by-ingestion</a:t>
          </a:r>
          <a:endParaRPr lang="en-US" sz="1600" kern="1200"/>
        </a:p>
        <a:p>
          <a:pPr marL="171450" lvl="1" indent="-171450" algn="l" defTabSz="711200">
            <a:lnSpc>
              <a:spcPct val="90000"/>
            </a:lnSpc>
            <a:spcBef>
              <a:spcPct val="0"/>
            </a:spcBef>
            <a:spcAft>
              <a:spcPct val="15000"/>
            </a:spcAft>
            <a:buChar char="•"/>
          </a:pPr>
          <a:r>
            <a:rPr lang="en-US" sz="1600" kern="1200" baseline="0"/>
            <a:t>Minimize cost by only pulling over needed metrics</a:t>
          </a:r>
          <a:endParaRPr lang="en-US" sz="1600" kern="1200"/>
        </a:p>
      </dsp:txBody>
      <dsp:txXfrm>
        <a:off x="0" y="2014760"/>
        <a:ext cx="11098906" cy="982799"/>
      </dsp:txXfrm>
    </dsp:sp>
    <dsp:sp modelId="{97B8B39D-A40B-4723-A32E-FBEC3624AF1E}">
      <dsp:nvSpPr>
        <dsp:cNvPr id="0" name=""/>
        <dsp:cNvSpPr/>
      </dsp:nvSpPr>
      <dsp:spPr>
        <a:xfrm>
          <a:off x="554945" y="1778600"/>
          <a:ext cx="7769234"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889000">
            <a:lnSpc>
              <a:spcPct val="90000"/>
            </a:lnSpc>
            <a:spcBef>
              <a:spcPct val="0"/>
            </a:spcBef>
            <a:spcAft>
              <a:spcPct val="35000"/>
            </a:spcAft>
            <a:buNone/>
          </a:pPr>
          <a:r>
            <a:rPr lang="en-US" sz="2000" kern="1200" baseline="0"/>
            <a:t>Cost</a:t>
          </a:r>
          <a:endParaRPr lang="en-US" sz="2000" kern="1200"/>
        </a:p>
      </dsp:txBody>
      <dsp:txXfrm>
        <a:off x="578002" y="1801657"/>
        <a:ext cx="7723120" cy="426206"/>
      </dsp:txXfrm>
    </dsp:sp>
    <dsp:sp modelId="{0D59AE30-8E8D-41FA-AE15-362573A12D21}">
      <dsp:nvSpPr>
        <dsp:cNvPr id="0" name=""/>
        <dsp:cNvSpPr/>
      </dsp:nvSpPr>
      <dsp:spPr>
        <a:xfrm>
          <a:off x="0" y="3320120"/>
          <a:ext cx="11098906" cy="6930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399" tIns="333248" rIns="861399"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baseline="0"/>
            <a:t>10-15 minutes max latency</a:t>
          </a:r>
          <a:endParaRPr lang="en-US" sz="1600" kern="1200"/>
        </a:p>
      </dsp:txBody>
      <dsp:txXfrm>
        <a:off x="0" y="3320120"/>
        <a:ext cx="11098906" cy="693000"/>
      </dsp:txXfrm>
    </dsp:sp>
    <dsp:sp modelId="{35F630BF-532D-4D1F-8C85-10A208E50F6B}">
      <dsp:nvSpPr>
        <dsp:cNvPr id="0" name=""/>
        <dsp:cNvSpPr/>
      </dsp:nvSpPr>
      <dsp:spPr>
        <a:xfrm>
          <a:off x="554945" y="3083960"/>
          <a:ext cx="7769234"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889000">
            <a:lnSpc>
              <a:spcPct val="90000"/>
            </a:lnSpc>
            <a:spcBef>
              <a:spcPct val="0"/>
            </a:spcBef>
            <a:spcAft>
              <a:spcPct val="35000"/>
            </a:spcAft>
            <a:buNone/>
          </a:pPr>
          <a:r>
            <a:rPr lang="en-US" sz="2000" kern="1200" baseline="0"/>
            <a:t>Latency</a:t>
          </a:r>
          <a:endParaRPr lang="en-US" sz="2000" kern="1200"/>
        </a:p>
      </dsp:txBody>
      <dsp:txXfrm>
        <a:off x="578002" y="3107017"/>
        <a:ext cx="7723120" cy="4262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72722B-4DEB-4DBF-8526-74394DC14106}">
      <dsp:nvSpPr>
        <dsp:cNvPr id="0" name=""/>
        <dsp:cNvSpPr/>
      </dsp:nvSpPr>
      <dsp:spPr>
        <a:xfrm>
          <a:off x="-3437940" y="-528605"/>
          <a:ext cx="4099101" cy="4099101"/>
        </a:xfrm>
        <a:prstGeom prst="blockArc">
          <a:avLst>
            <a:gd name="adj1" fmla="val 18900000"/>
            <a:gd name="adj2" fmla="val 2700000"/>
            <a:gd name="adj3" fmla="val 527"/>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A4C7D86-BB65-4C76-AB7A-5087640588C2}">
      <dsp:nvSpPr>
        <dsp:cNvPr id="0" name=""/>
        <dsp:cNvSpPr/>
      </dsp:nvSpPr>
      <dsp:spPr>
        <a:xfrm>
          <a:off x="425149" y="304189"/>
          <a:ext cx="10634714" cy="608378"/>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290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Create a Log Analytics Workspace</a:t>
          </a:r>
          <a:endParaRPr lang="en-US" sz="2400" kern="1200" dirty="0"/>
        </a:p>
      </dsp:txBody>
      <dsp:txXfrm>
        <a:off x="425149" y="304189"/>
        <a:ext cx="10634714" cy="608378"/>
      </dsp:txXfrm>
    </dsp:sp>
    <dsp:sp modelId="{93A6A008-99D3-4956-BD8E-2C62F7695750}">
      <dsp:nvSpPr>
        <dsp:cNvPr id="0" name=""/>
        <dsp:cNvSpPr/>
      </dsp:nvSpPr>
      <dsp:spPr>
        <a:xfrm>
          <a:off x="44912" y="228141"/>
          <a:ext cx="760472" cy="760472"/>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43D6098-374A-4066-8740-EC6A9EDEB5D3}">
      <dsp:nvSpPr>
        <dsp:cNvPr id="0" name=""/>
        <dsp:cNvSpPr/>
      </dsp:nvSpPr>
      <dsp:spPr>
        <a:xfrm>
          <a:off x="646294" y="1216756"/>
          <a:ext cx="10413568" cy="608378"/>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290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t>Add new ‘Diagnostic setting’ to send logs to your workspace</a:t>
          </a:r>
          <a:endParaRPr lang="en-US" sz="2400" kern="1200"/>
        </a:p>
      </dsp:txBody>
      <dsp:txXfrm>
        <a:off x="646294" y="1216756"/>
        <a:ext cx="10413568" cy="608378"/>
      </dsp:txXfrm>
    </dsp:sp>
    <dsp:sp modelId="{70B8BF4A-EB4F-401D-B82F-E487FFF8BA8F}">
      <dsp:nvSpPr>
        <dsp:cNvPr id="0" name=""/>
        <dsp:cNvSpPr/>
      </dsp:nvSpPr>
      <dsp:spPr>
        <a:xfrm>
          <a:off x="266058" y="1140709"/>
          <a:ext cx="760472" cy="760472"/>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9C5B57F-9565-4A7F-ADDD-1977A079988B}">
      <dsp:nvSpPr>
        <dsp:cNvPr id="0" name=""/>
        <dsp:cNvSpPr/>
      </dsp:nvSpPr>
      <dsp:spPr>
        <a:xfrm>
          <a:off x="425149" y="2129323"/>
          <a:ext cx="10634714" cy="608378"/>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290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t>Select which metrics you want to monitor</a:t>
          </a:r>
          <a:endParaRPr lang="en-US" sz="2400" kern="1200"/>
        </a:p>
      </dsp:txBody>
      <dsp:txXfrm>
        <a:off x="425149" y="2129323"/>
        <a:ext cx="10634714" cy="608378"/>
      </dsp:txXfrm>
    </dsp:sp>
    <dsp:sp modelId="{CED45248-1BC7-4485-B9B8-862077963B30}">
      <dsp:nvSpPr>
        <dsp:cNvPr id="0" name=""/>
        <dsp:cNvSpPr/>
      </dsp:nvSpPr>
      <dsp:spPr>
        <a:xfrm>
          <a:off x="44912" y="2053276"/>
          <a:ext cx="760472" cy="760472"/>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F91531-61D5-4783-A0D3-A1BED84E8FDD}">
      <dsp:nvSpPr>
        <dsp:cNvPr id="0" name=""/>
        <dsp:cNvSpPr/>
      </dsp:nvSpPr>
      <dsp:spPr>
        <a:xfrm rot="10800000">
          <a:off x="882945" y="358"/>
          <a:ext cx="3024056" cy="484987"/>
        </a:xfrm>
        <a:prstGeom prst="homePlate">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866"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0" i="0" kern="1200" baseline="0"/>
            <a:t>DmsWorkers</a:t>
          </a:r>
          <a:endParaRPr lang="en-US" sz="1400" kern="1200"/>
        </a:p>
      </dsp:txBody>
      <dsp:txXfrm rot="10800000">
        <a:off x="1004192" y="358"/>
        <a:ext cx="2902809" cy="484987"/>
      </dsp:txXfrm>
    </dsp:sp>
    <dsp:sp modelId="{D0957F38-E594-4903-AF86-E71162834A9A}">
      <dsp:nvSpPr>
        <dsp:cNvPr id="0" name=""/>
        <dsp:cNvSpPr/>
      </dsp:nvSpPr>
      <dsp:spPr>
        <a:xfrm>
          <a:off x="640451" y="358"/>
          <a:ext cx="484987" cy="484987"/>
        </a:xfrm>
        <a:prstGeom prst="ellipse">
          <a:avLst/>
        </a:prstGeom>
        <a:solidFill>
          <a:schemeClr val="accent1">
            <a:tint val="50000"/>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518849-FAC1-4787-937F-5A5DDD9A69CA}">
      <dsp:nvSpPr>
        <dsp:cNvPr id="0" name=""/>
        <dsp:cNvSpPr/>
      </dsp:nvSpPr>
      <dsp:spPr>
        <a:xfrm rot="10800000">
          <a:off x="882945" y="630118"/>
          <a:ext cx="3024056" cy="484987"/>
        </a:xfrm>
        <a:prstGeom prst="homePlate">
          <a:avLst/>
        </a:prstGeom>
        <a:solidFill>
          <a:schemeClr val="accent1">
            <a:alpha val="90000"/>
            <a:hueOff val="0"/>
            <a:satOff val="0"/>
            <a:lumOff val="0"/>
            <a:alphaOff val="-1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866"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0" i="0" kern="1200" baseline="0" dirty="0" err="1"/>
            <a:t>ExecRequests</a:t>
          </a:r>
          <a:endParaRPr lang="en-US" sz="1400" kern="1200" dirty="0"/>
        </a:p>
      </dsp:txBody>
      <dsp:txXfrm rot="10800000">
        <a:off x="1004192" y="630118"/>
        <a:ext cx="2902809" cy="484987"/>
      </dsp:txXfrm>
    </dsp:sp>
    <dsp:sp modelId="{152F422C-6402-4F87-84D5-F09AB9890494}">
      <dsp:nvSpPr>
        <dsp:cNvPr id="0" name=""/>
        <dsp:cNvSpPr/>
      </dsp:nvSpPr>
      <dsp:spPr>
        <a:xfrm>
          <a:off x="640451" y="630118"/>
          <a:ext cx="484987" cy="484987"/>
        </a:xfrm>
        <a:prstGeom prst="ellipse">
          <a:avLst/>
        </a:prstGeom>
        <a:solidFill>
          <a:schemeClr val="accent1">
            <a:tint val="50000"/>
            <a:alpha val="90000"/>
            <a:hueOff val="26905"/>
            <a:satOff val="-1083"/>
            <a:lumOff val="3659"/>
            <a:alphaOff val="-1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5E2C1E1-825D-4383-8C25-195166CBE49F}">
      <dsp:nvSpPr>
        <dsp:cNvPr id="0" name=""/>
        <dsp:cNvSpPr/>
      </dsp:nvSpPr>
      <dsp:spPr>
        <a:xfrm rot="10800000">
          <a:off x="882945" y="1259878"/>
          <a:ext cx="3024056" cy="484987"/>
        </a:xfrm>
        <a:prstGeom prst="homePlate">
          <a:avLst/>
        </a:prstGeom>
        <a:solidFill>
          <a:schemeClr val="accent1">
            <a:alpha val="90000"/>
            <a:hueOff val="0"/>
            <a:satOff val="0"/>
            <a:lumOff val="0"/>
            <a:alphaOff val="-2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866"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0" i="0" kern="1200" baseline="0" dirty="0" err="1"/>
            <a:t>RequestSteps</a:t>
          </a:r>
          <a:endParaRPr lang="en-US" sz="1400" kern="1200" dirty="0"/>
        </a:p>
      </dsp:txBody>
      <dsp:txXfrm rot="10800000">
        <a:off x="1004192" y="1259878"/>
        <a:ext cx="2902809" cy="484987"/>
      </dsp:txXfrm>
    </dsp:sp>
    <dsp:sp modelId="{39F285AA-EB7E-43DD-AE97-698BCA9FDFF2}">
      <dsp:nvSpPr>
        <dsp:cNvPr id="0" name=""/>
        <dsp:cNvSpPr/>
      </dsp:nvSpPr>
      <dsp:spPr>
        <a:xfrm>
          <a:off x="640451" y="1259878"/>
          <a:ext cx="484987" cy="484987"/>
        </a:xfrm>
        <a:prstGeom prst="ellipse">
          <a:avLst/>
        </a:prstGeom>
        <a:solidFill>
          <a:schemeClr val="accent1">
            <a:tint val="50000"/>
            <a:alpha val="90000"/>
            <a:hueOff val="53810"/>
            <a:satOff val="-2166"/>
            <a:lumOff val="7317"/>
            <a:alphaOff val="-2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AC83A25-D50F-4AAD-8E0C-4ED713551B9E}">
      <dsp:nvSpPr>
        <dsp:cNvPr id="0" name=""/>
        <dsp:cNvSpPr/>
      </dsp:nvSpPr>
      <dsp:spPr>
        <a:xfrm rot="10800000">
          <a:off x="882945" y="1889638"/>
          <a:ext cx="3024056" cy="484987"/>
        </a:xfrm>
        <a:prstGeom prst="homePlate">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866"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0" i="0" kern="1200" baseline="0" dirty="0" err="1"/>
            <a:t>SqlRequests</a:t>
          </a:r>
          <a:endParaRPr lang="en-US" sz="1400" kern="1200" dirty="0"/>
        </a:p>
      </dsp:txBody>
      <dsp:txXfrm rot="10800000">
        <a:off x="1004192" y="1889638"/>
        <a:ext cx="2902809" cy="484987"/>
      </dsp:txXfrm>
    </dsp:sp>
    <dsp:sp modelId="{37B1B734-759F-4403-AE6F-9DFDA7BA32C9}">
      <dsp:nvSpPr>
        <dsp:cNvPr id="0" name=""/>
        <dsp:cNvSpPr/>
      </dsp:nvSpPr>
      <dsp:spPr>
        <a:xfrm>
          <a:off x="640451" y="1889638"/>
          <a:ext cx="484987" cy="484987"/>
        </a:xfrm>
        <a:prstGeom prst="ellipse">
          <a:avLst/>
        </a:prstGeom>
        <a:solidFill>
          <a:schemeClr val="accent1">
            <a:tint val="50000"/>
            <a:alpha val="90000"/>
            <a:hueOff val="80715"/>
            <a:satOff val="-3249"/>
            <a:lumOff val="10976"/>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701A29-45D2-4929-A5D2-9A75B4DDA761}">
      <dsp:nvSpPr>
        <dsp:cNvPr id="0" name=""/>
        <dsp:cNvSpPr/>
      </dsp:nvSpPr>
      <dsp:spPr>
        <a:xfrm rot="10800000">
          <a:off x="885959" y="1036"/>
          <a:ext cx="3036299" cy="484710"/>
        </a:xfrm>
        <a:prstGeom prst="homePlate">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744"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0" i="0" kern="1200" baseline="0"/>
            <a:t>Waits</a:t>
          </a:r>
          <a:endParaRPr lang="en-US" sz="1400" kern="1200"/>
        </a:p>
      </dsp:txBody>
      <dsp:txXfrm rot="10800000">
        <a:off x="1007136" y="1036"/>
        <a:ext cx="2915122" cy="484710"/>
      </dsp:txXfrm>
    </dsp:sp>
    <dsp:sp modelId="{275B27BA-FD8C-42AE-8EEA-F89C56728147}">
      <dsp:nvSpPr>
        <dsp:cNvPr id="0" name=""/>
        <dsp:cNvSpPr/>
      </dsp:nvSpPr>
      <dsp:spPr>
        <a:xfrm>
          <a:off x="643604" y="1036"/>
          <a:ext cx="484710" cy="484710"/>
        </a:xfrm>
        <a:prstGeom prst="ellipse">
          <a:avLst/>
        </a:prstGeom>
        <a:solidFill>
          <a:schemeClr val="accent1">
            <a:tint val="50000"/>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33A4BED-80FA-4F0E-8C3E-4F80ADDCEF45}">
      <dsp:nvSpPr>
        <dsp:cNvPr id="0" name=""/>
        <dsp:cNvSpPr/>
      </dsp:nvSpPr>
      <dsp:spPr>
        <a:xfrm rot="10800000">
          <a:off x="885959" y="630436"/>
          <a:ext cx="3036299" cy="484710"/>
        </a:xfrm>
        <a:prstGeom prst="homePlate">
          <a:avLst/>
        </a:prstGeom>
        <a:solidFill>
          <a:schemeClr val="accent1">
            <a:alpha val="90000"/>
            <a:hueOff val="0"/>
            <a:satOff val="0"/>
            <a:lumOff val="0"/>
            <a:alphaOff val="-1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744"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0" i="0" kern="1200" baseline="0"/>
            <a:t>Basic</a:t>
          </a:r>
          <a:endParaRPr lang="en-US" sz="1400" kern="1200"/>
        </a:p>
      </dsp:txBody>
      <dsp:txXfrm rot="10800000">
        <a:off x="1007136" y="630436"/>
        <a:ext cx="2915122" cy="484710"/>
      </dsp:txXfrm>
    </dsp:sp>
    <dsp:sp modelId="{244A1B2E-8C5E-409F-82B8-B7DBFC18219B}">
      <dsp:nvSpPr>
        <dsp:cNvPr id="0" name=""/>
        <dsp:cNvSpPr/>
      </dsp:nvSpPr>
      <dsp:spPr>
        <a:xfrm>
          <a:off x="643604" y="630436"/>
          <a:ext cx="484710" cy="484710"/>
        </a:xfrm>
        <a:prstGeom prst="ellipse">
          <a:avLst/>
        </a:prstGeom>
        <a:solidFill>
          <a:schemeClr val="accent1">
            <a:tint val="50000"/>
            <a:alpha val="90000"/>
            <a:hueOff val="26905"/>
            <a:satOff val="-1083"/>
            <a:lumOff val="3659"/>
            <a:alphaOff val="-1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81A9041-6237-40BD-8FA3-5A9E1BE8C96F}">
      <dsp:nvSpPr>
        <dsp:cNvPr id="0" name=""/>
        <dsp:cNvSpPr/>
      </dsp:nvSpPr>
      <dsp:spPr>
        <a:xfrm rot="10800000">
          <a:off x="885959" y="1259836"/>
          <a:ext cx="3036299" cy="484710"/>
        </a:xfrm>
        <a:prstGeom prst="homePlate">
          <a:avLst/>
        </a:prstGeom>
        <a:solidFill>
          <a:schemeClr val="accent1">
            <a:alpha val="90000"/>
            <a:hueOff val="0"/>
            <a:satOff val="0"/>
            <a:lumOff val="0"/>
            <a:alphaOff val="-2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744"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0" i="0" kern="1200" baseline="0"/>
            <a:t>InstanceAndAppAdvanced</a:t>
          </a:r>
          <a:endParaRPr lang="en-US" sz="1400" kern="1200"/>
        </a:p>
      </dsp:txBody>
      <dsp:txXfrm rot="10800000">
        <a:off x="1007136" y="1259836"/>
        <a:ext cx="2915122" cy="484710"/>
      </dsp:txXfrm>
    </dsp:sp>
    <dsp:sp modelId="{D2422BFD-7306-418B-8CE0-7B2DB6E711D5}">
      <dsp:nvSpPr>
        <dsp:cNvPr id="0" name=""/>
        <dsp:cNvSpPr/>
      </dsp:nvSpPr>
      <dsp:spPr>
        <a:xfrm>
          <a:off x="643604" y="1259836"/>
          <a:ext cx="484710" cy="484710"/>
        </a:xfrm>
        <a:prstGeom prst="ellipse">
          <a:avLst/>
        </a:prstGeom>
        <a:solidFill>
          <a:schemeClr val="accent1">
            <a:tint val="50000"/>
            <a:alpha val="90000"/>
            <a:hueOff val="53810"/>
            <a:satOff val="-2166"/>
            <a:lumOff val="7317"/>
            <a:alphaOff val="-2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BAFB84-17CB-421E-995C-FE871F596597}">
      <dsp:nvSpPr>
        <dsp:cNvPr id="0" name=""/>
        <dsp:cNvSpPr/>
      </dsp:nvSpPr>
      <dsp:spPr>
        <a:xfrm rot="10800000">
          <a:off x="885959" y="1889237"/>
          <a:ext cx="3036299" cy="484710"/>
        </a:xfrm>
        <a:prstGeom prst="homePlate">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744"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0" i="0" kern="1200" baseline="0" dirty="0" err="1"/>
            <a:t>WorkloadManagement</a:t>
          </a:r>
          <a:endParaRPr lang="en-US" sz="1400" kern="1200" dirty="0"/>
        </a:p>
      </dsp:txBody>
      <dsp:txXfrm rot="10800000">
        <a:off x="1007136" y="1889237"/>
        <a:ext cx="2915122" cy="484710"/>
      </dsp:txXfrm>
    </dsp:sp>
    <dsp:sp modelId="{574C9373-1231-4D45-949D-E48348FD3512}">
      <dsp:nvSpPr>
        <dsp:cNvPr id="0" name=""/>
        <dsp:cNvSpPr/>
      </dsp:nvSpPr>
      <dsp:spPr>
        <a:xfrm>
          <a:off x="643604" y="1889237"/>
          <a:ext cx="484710" cy="484710"/>
        </a:xfrm>
        <a:prstGeom prst="ellipse">
          <a:avLst/>
        </a:prstGeom>
        <a:solidFill>
          <a:schemeClr val="accent1">
            <a:tint val="50000"/>
            <a:alpha val="90000"/>
            <a:hueOff val="80715"/>
            <a:satOff val="-3249"/>
            <a:lumOff val="10976"/>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349230-2313-45AF-81B1-C2AF503A5371}">
      <dsp:nvSpPr>
        <dsp:cNvPr id="0" name=""/>
        <dsp:cNvSpPr/>
      </dsp:nvSpPr>
      <dsp:spPr>
        <a:xfrm>
          <a:off x="0" y="307129"/>
          <a:ext cx="11098906" cy="4284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503A02E-5FEA-4B2B-A585-E6B0E09C813B}">
      <dsp:nvSpPr>
        <dsp:cNvPr id="0" name=""/>
        <dsp:cNvSpPr/>
      </dsp:nvSpPr>
      <dsp:spPr>
        <a:xfrm>
          <a:off x="554945" y="56209"/>
          <a:ext cx="7769234"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1066800">
            <a:lnSpc>
              <a:spcPct val="90000"/>
            </a:lnSpc>
            <a:spcBef>
              <a:spcPct val="0"/>
            </a:spcBef>
            <a:spcAft>
              <a:spcPct val="35000"/>
            </a:spcAft>
            <a:buNone/>
          </a:pPr>
          <a:r>
            <a:rPr lang="en-US" sz="2400" kern="1200" baseline="0"/>
            <a:t>Customizable</a:t>
          </a:r>
          <a:endParaRPr lang="en-US" sz="2400" kern="1200"/>
        </a:p>
      </dsp:txBody>
      <dsp:txXfrm>
        <a:off x="579443" y="80707"/>
        <a:ext cx="7720238" cy="452844"/>
      </dsp:txXfrm>
    </dsp:sp>
    <dsp:sp modelId="{5578B24C-2F28-4E2D-8F47-E81203706E5C}">
      <dsp:nvSpPr>
        <dsp:cNvPr id="0" name=""/>
        <dsp:cNvSpPr/>
      </dsp:nvSpPr>
      <dsp:spPr>
        <a:xfrm>
          <a:off x="0" y="1078249"/>
          <a:ext cx="11098906" cy="166005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399" tIns="354076" rIns="861399"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Resources</a:t>
          </a:r>
          <a:endParaRPr lang="en-US" sz="1700" kern="1200"/>
        </a:p>
        <a:p>
          <a:pPr marL="171450" lvl="1" indent="-171450" algn="l" defTabSz="755650">
            <a:lnSpc>
              <a:spcPct val="90000"/>
            </a:lnSpc>
            <a:spcBef>
              <a:spcPct val="0"/>
            </a:spcBef>
            <a:spcAft>
              <a:spcPct val="15000"/>
            </a:spcAft>
            <a:buChar char="•"/>
          </a:pPr>
          <a:r>
            <a:rPr lang="en-US" sz="1700" kern="1200" baseline="0"/>
            <a:t>Metrics</a:t>
          </a:r>
          <a:endParaRPr lang="en-US" sz="1700" kern="1200"/>
        </a:p>
        <a:p>
          <a:pPr marL="171450" lvl="1" indent="-171450" algn="l" defTabSz="755650">
            <a:lnSpc>
              <a:spcPct val="90000"/>
            </a:lnSpc>
            <a:spcBef>
              <a:spcPct val="0"/>
            </a:spcBef>
            <a:spcAft>
              <a:spcPct val="15000"/>
            </a:spcAft>
            <a:buChar char="•"/>
          </a:pPr>
          <a:r>
            <a:rPr lang="en-US" sz="1700" kern="1200" baseline="0"/>
            <a:t>Log analytics charts</a:t>
          </a:r>
          <a:endParaRPr lang="en-US" sz="1700" kern="1200"/>
        </a:p>
        <a:p>
          <a:pPr marL="171450" lvl="1" indent="-171450" algn="l" defTabSz="755650">
            <a:lnSpc>
              <a:spcPct val="90000"/>
            </a:lnSpc>
            <a:spcBef>
              <a:spcPct val="0"/>
            </a:spcBef>
            <a:spcAft>
              <a:spcPct val="15000"/>
            </a:spcAft>
            <a:buChar char="•"/>
          </a:pPr>
          <a:r>
            <a:rPr lang="en-US" sz="1700" kern="1200" baseline="0" dirty="0"/>
            <a:t>Text boxes</a:t>
          </a:r>
          <a:endParaRPr lang="en-US" sz="1700" kern="1200" dirty="0"/>
        </a:p>
      </dsp:txBody>
      <dsp:txXfrm>
        <a:off x="0" y="1078249"/>
        <a:ext cx="11098906" cy="1660050"/>
      </dsp:txXfrm>
    </dsp:sp>
    <dsp:sp modelId="{572FD0F1-E10A-4611-B89E-82BF781D30EC}">
      <dsp:nvSpPr>
        <dsp:cNvPr id="0" name=""/>
        <dsp:cNvSpPr/>
      </dsp:nvSpPr>
      <dsp:spPr>
        <a:xfrm>
          <a:off x="554945" y="827329"/>
          <a:ext cx="7769234"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1066800">
            <a:lnSpc>
              <a:spcPct val="90000"/>
            </a:lnSpc>
            <a:spcBef>
              <a:spcPct val="0"/>
            </a:spcBef>
            <a:spcAft>
              <a:spcPct val="35000"/>
            </a:spcAft>
            <a:buNone/>
          </a:pPr>
          <a:r>
            <a:rPr lang="en-US" sz="2400" kern="1200" baseline="0"/>
            <a:t>Pin:</a:t>
          </a:r>
          <a:endParaRPr lang="en-US" sz="2400" kern="1200"/>
        </a:p>
      </dsp:txBody>
      <dsp:txXfrm>
        <a:off x="579443" y="851827"/>
        <a:ext cx="7720238" cy="452844"/>
      </dsp:txXfrm>
    </dsp:sp>
    <dsp:sp modelId="{2C569307-1994-4D42-B431-6E2C13261F0A}">
      <dsp:nvSpPr>
        <dsp:cNvPr id="0" name=""/>
        <dsp:cNvSpPr/>
      </dsp:nvSpPr>
      <dsp:spPr>
        <a:xfrm>
          <a:off x="0" y="3081019"/>
          <a:ext cx="11098906" cy="4284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93639A-8217-4361-9C41-0C2F682E2B07}">
      <dsp:nvSpPr>
        <dsp:cNvPr id="0" name=""/>
        <dsp:cNvSpPr/>
      </dsp:nvSpPr>
      <dsp:spPr>
        <a:xfrm>
          <a:off x="554945" y="2830099"/>
          <a:ext cx="7769234"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1066800">
            <a:lnSpc>
              <a:spcPct val="90000"/>
            </a:lnSpc>
            <a:spcBef>
              <a:spcPct val="0"/>
            </a:spcBef>
            <a:spcAft>
              <a:spcPct val="35000"/>
            </a:spcAft>
            <a:buNone/>
          </a:pPr>
          <a:r>
            <a:rPr lang="en-US" sz="2400" kern="1200" baseline="0"/>
            <a:t>Private or shared</a:t>
          </a:r>
          <a:endParaRPr lang="en-US" sz="2400" kern="1200"/>
        </a:p>
      </dsp:txBody>
      <dsp:txXfrm>
        <a:off x="579443" y="2854597"/>
        <a:ext cx="7720238" cy="452844"/>
      </dsp:txXfrm>
    </dsp:sp>
    <dsp:sp modelId="{2A93174C-7EA7-40BD-B27F-9D8CA23E163D}">
      <dsp:nvSpPr>
        <dsp:cNvPr id="0" name=""/>
        <dsp:cNvSpPr/>
      </dsp:nvSpPr>
      <dsp:spPr>
        <a:xfrm>
          <a:off x="0" y="3852139"/>
          <a:ext cx="11098906" cy="133875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399" tIns="354076" rIns="861399"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Download JSON – save for backup purposes</a:t>
          </a:r>
          <a:endParaRPr lang="en-US" sz="1700" kern="1200"/>
        </a:p>
        <a:p>
          <a:pPr marL="171450" lvl="1" indent="-171450" algn="l" defTabSz="755650">
            <a:lnSpc>
              <a:spcPct val="90000"/>
            </a:lnSpc>
            <a:spcBef>
              <a:spcPct val="0"/>
            </a:spcBef>
            <a:spcAft>
              <a:spcPct val="15000"/>
            </a:spcAft>
            <a:buChar char="•"/>
          </a:pPr>
          <a:r>
            <a:rPr lang="en-US" sz="1700" kern="1200" baseline="0"/>
            <a:t>Replace references from one server/database to the other</a:t>
          </a:r>
          <a:endParaRPr lang="en-US" sz="1700" kern="1200"/>
        </a:p>
        <a:p>
          <a:pPr marL="171450" lvl="1" indent="-171450" algn="l" defTabSz="755650">
            <a:lnSpc>
              <a:spcPct val="90000"/>
            </a:lnSpc>
            <a:spcBef>
              <a:spcPct val="0"/>
            </a:spcBef>
            <a:spcAft>
              <a:spcPct val="15000"/>
            </a:spcAft>
            <a:buChar char="•"/>
          </a:pPr>
          <a:r>
            <a:rPr lang="en-US" sz="1700" kern="1200" baseline="0"/>
            <a:t>Upload as new dashboard</a:t>
          </a:r>
          <a:endParaRPr lang="en-US" sz="1700" kern="1200"/>
        </a:p>
      </dsp:txBody>
      <dsp:txXfrm>
        <a:off x="0" y="3852139"/>
        <a:ext cx="11098906" cy="1338750"/>
      </dsp:txXfrm>
    </dsp:sp>
    <dsp:sp modelId="{09E63B06-7F12-4120-9380-278C60037885}">
      <dsp:nvSpPr>
        <dsp:cNvPr id="0" name=""/>
        <dsp:cNvSpPr/>
      </dsp:nvSpPr>
      <dsp:spPr>
        <a:xfrm>
          <a:off x="554945" y="3601219"/>
          <a:ext cx="7769234" cy="5018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1066800">
            <a:lnSpc>
              <a:spcPct val="90000"/>
            </a:lnSpc>
            <a:spcBef>
              <a:spcPct val="0"/>
            </a:spcBef>
            <a:spcAft>
              <a:spcPct val="35000"/>
            </a:spcAft>
            <a:buNone/>
          </a:pPr>
          <a:r>
            <a:rPr lang="en-US" sz="2400" kern="1200" baseline="0"/>
            <a:t>Back-up or copy</a:t>
          </a:r>
          <a:endParaRPr lang="en-US" sz="2400" kern="1200"/>
        </a:p>
      </dsp:txBody>
      <dsp:txXfrm>
        <a:off x="579443" y="3625717"/>
        <a:ext cx="7720238" cy="45284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D53790-E1D8-486F-9C98-B039366F352A}">
      <dsp:nvSpPr>
        <dsp:cNvPr id="0" name=""/>
        <dsp:cNvSpPr/>
      </dsp:nvSpPr>
      <dsp:spPr>
        <a:xfrm>
          <a:off x="543277" y="160"/>
          <a:ext cx="4310678" cy="547358"/>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t>High TempDB usage</a:t>
          </a:r>
          <a:endParaRPr lang="en-US" sz="2200" kern="1200"/>
        </a:p>
      </dsp:txBody>
      <dsp:txXfrm>
        <a:off x="816956" y="160"/>
        <a:ext cx="3763320" cy="547358"/>
      </dsp:txXfrm>
    </dsp:sp>
    <dsp:sp modelId="{A9190175-8363-45A4-ADBE-D73835FA0808}">
      <dsp:nvSpPr>
        <dsp:cNvPr id="0" name=""/>
        <dsp:cNvSpPr/>
      </dsp:nvSpPr>
      <dsp:spPr>
        <a:xfrm>
          <a:off x="4676064" y="66325"/>
          <a:ext cx="5879565" cy="454307"/>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baseline="0"/>
            <a:t>Optimize queries with excessive data movement</a:t>
          </a:r>
          <a:endParaRPr lang="en-US" sz="1700" kern="1200"/>
        </a:p>
      </dsp:txBody>
      <dsp:txXfrm>
        <a:off x="4903218" y="66325"/>
        <a:ext cx="5425258" cy="454307"/>
      </dsp:txXfrm>
    </dsp:sp>
    <dsp:sp modelId="{BBB97028-5C27-460F-A41C-241FF4E73BE4}">
      <dsp:nvSpPr>
        <dsp:cNvPr id="0" name=""/>
        <dsp:cNvSpPr/>
      </dsp:nvSpPr>
      <dsp:spPr>
        <a:xfrm>
          <a:off x="543277" y="624148"/>
          <a:ext cx="4310678" cy="547358"/>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t>High CPU usage</a:t>
          </a:r>
          <a:endParaRPr lang="en-US" sz="2200" kern="1200"/>
        </a:p>
      </dsp:txBody>
      <dsp:txXfrm>
        <a:off x="816956" y="624148"/>
        <a:ext cx="3763320" cy="547358"/>
      </dsp:txXfrm>
    </dsp:sp>
    <dsp:sp modelId="{632F67D9-C5DD-46BB-A29A-70B3538E91FE}">
      <dsp:nvSpPr>
        <dsp:cNvPr id="0" name=""/>
        <dsp:cNvSpPr/>
      </dsp:nvSpPr>
      <dsp:spPr>
        <a:xfrm>
          <a:off x="4676064" y="690313"/>
          <a:ext cx="5879565" cy="454307"/>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baseline="0"/>
            <a:t>Optimize CPU-Intensive queries</a:t>
          </a:r>
          <a:endParaRPr lang="en-US" sz="1700" kern="1200"/>
        </a:p>
      </dsp:txBody>
      <dsp:txXfrm>
        <a:off x="4903218" y="690313"/>
        <a:ext cx="5425258" cy="454307"/>
      </dsp:txXfrm>
    </dsp:sp>
    <dsp:sp modelId="{FE01961C-1565-4A1E-8D31-5623C1163BD7}">
      <dsp:nvSpPr>
        <dsp:cNvPr id="0" name=""/>
        <dsp:cNvSpPr/>
      </dsp:nvSpPr>
      <dsp:spPr>
        <a:xfrm>
          <a:off x="543277" y="1248136"/>
          <a:ext cx="4310678" cy="547358"/>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t>Excessive query queueing</a:t>
          </a:r>
          <a:endParaRPr lang="en-US" sz="2200" kern="1200"/>
        </a:p>
      </dsp:txBody>
      <dsp:txXfrm>
        <a:off x="816956" y="1248136"/>
        <a:ext cx="3763320" cy="547358"/>
      </dsp:txXfrm>
    </dsp:sp>
    <dsp:sp modelId="{8FD2D8ED-9B4E-46E2-89DA-85EB33406E44}">
      <dsp:nvSpPr>
        <dsp:cNvPr id="0" name=""/>
        <dsp:cNvSpPr/>
      </dsp:nvSpPr>
      <dsp:spPr>
        <a:xfrm>
          <a:off x="4676064" y="1314302"/>
          <a:ext cx="5879565" cy="454307"/>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baseline="0"/>
            <a:t>Optimize workload management configuration</a:t>
          </a:r>
          <a:endParaRPr lang="en-US" sz="1700" kern="1200"/>
        </a:p>
      </dsp:txBody>
      <dsp:txXfrm>
        <a:off x="4903218" y="1314302"/>
        <a:ext cx="5425258" cy="454307"/>
      </dsp:txXfrm>
    </dsp:sp>
    <dsp:sp modelId="{7AD8F8DE-DC12-46E2-9F6C-449CBEB040CB}">
      <dsp:nvSpPr>
        <dsp:cNvPr id="0" name=""/>
        <dsp:cNvSpPr/>
      </dsp:nvSpPr>
      <dsp:spPr>
        <a:xfrm>
          <a:off x="543277" y="1872125"/>
          <a:ext cx="4310678" cy="547358"/>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t>High Data IO %</a:t>
          </a:r>
          <a:endParaRPr lang="en-US" sz="2200" kern="1200"/>
        </a:p>
      </dsp:txBody>
      <dsp:txXfrm>
        <a:off x="816956" y="1872125"/>
        <a:ext cx="3763320" cy="547358"/>
      </dsp:txXfrm>
    </dsp:sp>
    <dsp:sp modelId="{0878C3B0-F2C0-49E8-B573-2E3D29ED2FD4}">
      <dsp:nvSpPr>
        <dsp:cNvPr id="0" name=""/>
        <dsp:cNvSpPr/>
      </dsp:nvSpPr>
      <dsp:spPr>
        <a:xfrm>
          <a:off x="4676064" y="1938290"/>
          <a:ext cx="5879565" cy="454307"/>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baseline="0"/>
            <a:t>Spread out workload or minimize reads/writes</a:t>
          </a:r>
          <a:endParaRPr lang="en-US" sz="1700" kern="1200"/>
        </a:p>
      </dsp:txBody>
      <dsp:txXfrm>
        <a:off x="4903218" y="1938290"/>
        <a:ext cx="5425258" cy="454307"/>
      </dsp:txXfrm>
    </dsp:sp>
    <dsp:sp modelId="{06450622-2A9A-4112-AA15-E711ECB80B04}">
      <dsp:nvSpPr>
        <dsp:cNvPr id="0" name=""/>
        <dsp:cNvSpPr/>
      </dsp:nvSpPr>
      <dsp:spPr>
        <a:xfrm>
          <a:off x="543277" y="2496113"/>
          <a:ext cx="4310678" cy="547358"/>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t>Rows moved by query step</a:t>
          </a:r>
          <a:endParaRPr lang="en-US" sz="2200" kern="1200"/>
        </a:p>
      </dsp:txBody>
      <dsp:txXfrm>
        <a:off x="816956" y="2496113"/>
        <a:ext cx="3763320" cy="547358"/>
      </dsp:txXfrm>
    </dsp:sp>
    <dsp:sp modelId="{EB9FF133-C9A7-4B9A-8D70-2274569C9D84}">
      <dsp:nvSpPr>
        <dsp:cNvPr id="0" name=""/>
        <dsp:cNvSpPr/>
      </dsp:nvSpPr>
      <dsp:spPr>
        <a:xfrm>
          <a:off x="4676064" y="2542639"/>
          <a:ext cx="5879565" cy="454307"/>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baseline="0"/>
            <a:t>Optimize queries with excessive data movement</a:t>
          </a:r>
          <a:endParaRPr lang="en-US" sz="1700" kern="1200"/>
        </a:p>
      </dsp:txBody>
      <dsp:txXfrm>
        <a:off x="4903218" y="2542639"/>
        <a:ext cx="5425258" cy="454307"/>
      </dsp:txXfrm>
    </dsp:sp>
    <dsp:sp modelId="{06A12850-0C9E-498C-BD98-8D3EEE26E165}">
      <dsp:nvSpPr>
        <dsp:cNvPr id="0" name=""/>
        <dsp:cNvSpPr/>
      </dsp:nvSpPr>
      <dsp:spPr>
        <a:xfrm>
          <a:off x="543277" y="3120101"/>
          <a:ext cx="4310678" cy="547358"/>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t>Rows processed by requestID</a:t>
          </a:r>
          <a:endParaRPr lang="en-US" sz="2200" kern="1200"/>
        </a:p>
      </dsp:txBody>
      <dsp:txXfrm>
        <a:off x="816956" y="3120101"/>
        <a:ext cx="3763320" cy="547358"/>
      </dsp:txXfrm>
    </dsp:sp>
    <dsp:sp modelId="{42C53EB0-2851-48B0-AAC7-1E04A12E057B}">
      <dsp:nvSpPr>
        <dsp:cNvPr id="0" name=""/>
        <dsp:cNvSpPr/>
      </dsp:nvSpPr>
      <dsp:spPr>
        <a:xfrm>
          <a:off x="4676064" y="3166627"/>
          <a:ext cx="5879565" cy="454307"/>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baseline="0"/>
            <a:t>Optimize Queries with many large data movement steps</a:t>
          </a:r>
          <a:endParaRPr lang="en-US" sz="1700" kern="1200"/>
        </a:p>
      </dsp:txBody>
      <dsp:txXfrm>
        <a:off x="4903218" y="3166627"/>
        <a:ext cx="5425258" cy="454307"/>
      </dsp:txXfrm>
    </dsp:sp>
    <dsp:sp modelId="{BA405E10-DC0B-4637-967A-DD3A9B42C70A}">
      <dsp:nvSpPr>
        <dsp:cNvPr id="0" name=""/>
        <dsp:cNvSpPr/>
      </dsp:nvSpPr>
      <dsp:spPr>
        <a:xfrm>
          <a:off x="543277" y="3744090"/>
          <a:ext cx="4310678" cy="547358"/>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t>BuildReplicatedTableCache</a:t>
          </a:r>
          <a:endParaRPr lang="en-US" sz="2200" kern="1200"/>
        </a:p>
      </dsp:txBody>
      <dsp:txXfrm>
        <a:off x="816956" y="3744090"/>
        <a:ext cx="3763320" cy="547358"/>
      </dsp:txXfrm>
    </dsp:sp>
    <dsp:sp modelId="{5DF81F36-87E0-4337-A0E1-28C5E086A8A2}">
      <dsp:nvSpPr>
        <dsp:cNvPr id="0" name=""/>
        <dsp:cNvSpPr/>
      </dsp:nvSpPr>
      <dsp:spPr>
        <a:xfrm>
          <a:off x="4676064" y="3790615"/>
          <a:ext cx="5879565" cy="454307"/>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baseline="0"/>
            <a:t>Check sizes of Replicated Tables</a:t>
          </a:r>
          <a:endParaRPr lang="en-US" sz="1700" kern="1200"/>
        </a:p>
      </dsp:txBody>
      <dsp:txXfrm>
        <a:off x="4903218" y="3790615"/>
        <a:ext cx="5425258" cy="454307"/>
      </dsp:txXfrm>
    </dsp:sp>
    <dsp:sp modelId="{C84D6B38-BCEE-4E64-B426-1DC719699F06}">
      <dsp:nvSpPr>
        <dsp:cNvPr id="0" name=""/>
        <dsp:cNvSpPr/>
      </dsp:nvSpPr>
      <dsp:spPr>
        <a:xfrm>
          <a:off x="543277" y="4368078"/>
          <a:ext cx="4310678" cy="547358"/>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n-US" sz="2200" kern="1200" baseline="0"/>
            <a:t>Cache Usage</a:t>
          </a:r>
          <a:endParaRPr lang="en-US" sz="2200" kern="1200"/>
        </a:p>
      </dsp:txBody>
      <dsp:txXfrm>
        <a:off x="816956" y="4368078"/>
        <a:ext cx="3763320" cy="547358"/>
      </dsp:txXfrm>
    </dsp:sp>
    <dsp:sp modelId="{FA3EDBDB-B0C2-4975-904A-FFDC719B956D}">
      <dsp:nvSpPr>
        <dsp:cNvPr id="0" name=""/>
        <dsp:cNvSpPr/>
      </dsp:nvSpPr>
      <dsp:spPr>
        <a:xfrm>
          <a:off x="4676064" y="4414604"/>
          <a:ext cx="5879565" cy="454307"/>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baseline="0"/>
            <a:t>Explore Columnstore usage</a:t>
          </a:r>
          <a:endParaRPr lang="en-US" sz="1700" kern="1200"/>
        </a:p>
      </dsp:txBody>
      <dsp:txXfrm>
        <a:off x="4903218" y="4414604"/>
        <a:ext cx="5425258" cy="45430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88B0C9-1E52-4919-94C2-7A703096AAF9}">
      <dsp:nvSpPr>
        <dsp:cNvPr id="0" name=""/>
        <dsp:cNvSpPr/>
      </dsp:nvSpPr>
      <dsp:spPr>
        <a:xfrm>
          <a:off x="2722985" y="0"/>
          <a:ext cx="4915597" cy="4915597"/>
        </a:xfrm>
        <a:prstGeom prst="triangl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C59786-7703-4607-8B95-32DF100A29D8}">
      <dsp:nvSpPr>
        <dsp:cNvPr id="0" name=""/>
        <dsp:cNvSpPr/>
      </dsp:nvSpPr>
      <dsp:spPr>
        <a:xfrm>
          <a:off x="5180783" y="492039"/>
          <a:ext cx="3195138" cy="873670"/>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DWU Consumption</a:t>
          </a:r>
          <a:endParaRPr lang="en-US" sz="2300" kern="1200"/>
        </a:p>
      </dsp:txBody>
      <dsp:txXfrm>
        <a:off x="5223432" y="534688"/>
        <a:ext cx="3109840" cy="788372"/>
      </dsp:txXfrm>
    </dsp:sp>
    <dsp:sp modelId="{658710C2-F6B2-439F-BE1A-BE6AD5B72846}">
      <dsp:nvSpPr>
        <dsp:cNvPr id="0" name=""/>
        <dsp:cNvSpPr/>
      </dsp:nvSpPr>
      <dsp:spPr>
        <a:xfrm>
          <a:off x="5180783" y="1474919"/>
          <a:ext cx="3195138" cy="873670"/>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Concurrency</a:t>
          </a:r>
          <a:endParaRPr lang="en-US" sz="2300" kern="1200"/>
        </a:p>
      </dsp:txBody>
      <dsp:txXfrm>
        <a:off x="5223432" y="1517568"/>
        <a:ext cx="3109840" cy="788372"/>
      </dsp:txXfrm>
    </dsp:sp>
    <dsp:sp modelId="{8EDCBFF8-6AC6-46DB-9156-DB2151ED5620}">
      <dsp:nvSpPr>
        <dsp:cNvPr id="0" name=""/>
        <dsp:cNvSpPr/>
      </dsp:nvSpPr>
      <dsp:spPr>
        <a:xfrm>
          <a:off x="5180783" y="2457798"/>
          <a:ext cx="3195138" cy="873670"/>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Tempdb consumption</a:t>
          </a:r>
          <a:endParaRPr lang="en-US" sz="2300" kern="1200"/>
        </a:p>
      </dsp:txBody>
      <dsp:txXfrm>
        <a:off x="5223432" y="2500447"/>
        <a:ext cx="3109840" cy="788372"/>
      </dsp:txXfrm>
    </dsp:sp>
    <dsp:sp modelId="{57DF5224-F06E-4394-A5CD-A5786E658DBE}">
      <dsp:nvSpPr>
        <dsp:cNvPr id="0" name=""/>
        <dsp:cNvSpPr/>
      </dsp:nvSpPr>
      <dsp:spPr>
        <a:xfrm>
          <a:off x="5180783" y="3440677"/>
          <a:ext cx="3195138" cy="873670"/>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Cache usage</a:t>
          </a:r>
          <a:endParaRPr lang="en-US" sz="2300" kern="1200"/>
        </a:p>
      </dsp:txBody>
      <dsp:txXfrm>
        <a:off x="5223432" y="3483326"/>
        <a:ext cx="3109840" cy="78837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72BDFA-DB62-41F7-8032-8B92F248C129}">
      <dsp:nvSpPr>
        <dsp:cNvPr id="0" name=""/>
        <dsp:cNvSpPr/>
      </dsp:nvSpPr>
      <dsp:spPr>
        <a:xfrm>
          <a:off x="5419" y="840788"/>
          <a:ext cx="1848011" cy="92400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More nodes</a:t>
          </a:r>
          <a:endParaRPr lang="en-US" sz="2400" kern="1200" dirty="0"/>
        </a:p>
      </dsp:txBody>
      <dsp:txXfrm>
        <a:off x="32482" y="867851"/>
        <a:ext cx="1793885" cy="869879"/>
      </dsp:txXfrm>
    </dsp:sp>
    <dsp:sp modelId="{79F13DBB-6250-4CCC-9238-1BC21B47AC86}">
      <dsp:nvSpPr>
        <dsp:cNvPr id="0" name=""/>
        <dsp:cNvSpPr/>
      </dsp:nvSpPr>
      <dsp:spPr>
        <a:xfrm>
          <a:off x="190220" y="1764794"/>
          <a:ext cx="184801" cy="693004"/>
        </a:xfrm>
        <a:custGeom>
          <a:avLst/>
          <a:gdLst/>
          <a:ahLst/>
          <a:cxnLst/>
          <a:rect l="0" t="0" r="0" b="0"/>
          <a:pathLst>
            <a:path>
              <a:moveTo>
                <a:pt x="0" y="0"/>
              </a:moveTo>
              <a:lnTo>
                <a:pt x="0" y="693004"/>
              </a:lnTo>
              <a:lnTo>
                <a:pt x="184801" y="69300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0038CF-CBE2-4F04-8717-FF63A5CE7110}">
      <dsp:nvSpPr>
        <dsp:cNvPr id="0" name=""/>
        <dsp:cNvSpPr/>
      </dsp:nvSpPr>
      <dsp:spPr>
        <a:xfrm>
          <a:off x="375021" y="1995795"/>
          <a:ext cx="1478409" cy="92400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More compute power</a:t>
          </a:r>
          <a:endParaRPr lang="en-US" sz="1800" kern="1200" dirty="0"/>
        </a:p>
      </dsp:txBody>
      <dsp:txXfrm>
        <a:off x="402084" y="2022858"/>
        <a:ext cx="1424283" cy="869879"/>
      </dsp:txXfrm>
    </dsp:sp>
    <dsp:sp modelId="{4F61D88B-FA60-468A-8A39-B60E24FC6449}">
      <dsp:nvSpPr>
        <dsp:cNvPr id="0" name=""/>
        <dsp:cNvSpPr/>
      </dsp:nvSpPr>
      <dsp:spPr>
        <a:xfrm>
          <a:off x="2315433" y="840788"/>
          <a:ext cx="1848011" cy="92400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creased TempDB</a:t>
          </a:r>
          <a:endParaRPr lang="en-US" sz="2400" kern="1200" dirty="0"/>
        </a:p>
      </dsp:txBody>
      <dsp:txXfrm>
        <a:off x="2342496" y="867851"/>
        <a:ext cx="1793885" cy="869879"/>
      </dsp:txXfrm>
    </dsp:sp>
    <dsp:sp modelId="{04D7C0D9-5187-4BAE-9875-AC151CEE7721}">
      <dsp:nvSpPr>
        <dsp:cNvPr id="0" name=""/>
        <dsp:cNvSpPr/>
      </dsp:nvSpPr>
      <dsp:spPr>
        <a:xfrm>
          <a:off x="2500234" y="1764794"/>
          <a:ext cx="184801" cy="693004"/>
        </a:xfrm>
        <a:custGeom>
          <a:avLst/>
          <a:gdLst/>
          <a:ahLst/>
          <a:cxnLst/>
          <a:rect l="0" t="0" r="0" b="0"/>
          <a:pathLst>
            <a:path>
              <a:moveTo>
                <a:pt x="0" y="0"/>
              </a:moveTo>
              <a:lnTo>
                <a:pt x="0" y="693004"/>
              </a:lnTo>
              <a:lnTo>
                <a:pt x="184801" y="69300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7E9504E-BA2E-415B-9776-060D549ECCBF}">
      <dsp:nvSpPr>
        <dsp:cNvPr id="0" name=""/>
        <dsp:cNvSpPr/>
      </dsp:nvSpPr>
      <dsp:spPr>
        <a:xfrm>
          <a:off x="2685035" y="1995795"/>
          <a:ext cx="1478409" cy="92400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399GB </a:t>
          </a:r>
          <a:r>
            <a:rPr lang="en-US" sz="1800" kern="1200" baseline="0" dirty="0"/>
            <a:t>per node</a:t>
          </a:r>
          <a:endParaRPr lang="en-US" sz="1800" kern="1200" dirty="0"/>
        </a:p>
      </dsp:txBody>
      <dsp:txXfrm>
        <a:off x="2712098" y="2022858"/>
        <a:ext cx="1424283" cy="869879"/>
      </dsp:txXfrm>
    </dsp:sp>
    <dsp:sp modelId="{15518B35-0DEF-4E1C-8739-1EF552345864}">
      <dsp:nvSpPr>
        <dsp:cNvPr id="0" name=""/>
        <dsp:cNvSpPr/>
      </dsp:nvSpPr>
      <dsp:spPr>
        <a:xfrm>
          <a:off x="4625447" y="840788"/>
          <a:ext cx="1848011" cy="92400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creased memory</a:t>
          </a:r>
          <a:endParaRPr lang="en-US" sz="2400" kern="1200" dirty="0"/>
        </a:p>
      </dsp:txBody>
      <dsp:txXfrm>
        <a:off x="4652510" y="867851"/>
        <a:ext cx="1793885" cy="869879"/>
      </dsp:txXfrm>
    </dsp:sp>
    <dsp:sp modelId="{C74032C2-DE7D-4F83-8C0A-9F699AC001F2}">
      <dsp:nvSpPr>
        <dsp:cNvPr id="0" name=""/>
        <dsp:cNvSpPr/>
      </dsp:nvSpPr>
      <dsp:spPr>
        <a:xfrm>
          <a:off x="4810248" y="1764794"/>
          <a:ext cx="184801" cy="693004"/>
        </a:xfrm>
        <a:custGeom>
          <a:avLst/>
          <a:gdLst/>
          <a:ahLst/>
          <a:cxnLst/>
          <a:rect l="0" t="0" r="0" b="0"/>
          <a:pathLst>
            <a:path>
              <a:moveTo>
                <a:pt x="0" y="0"/>
              </a:moveTo>
              <a:lnTo>
                <a:pt x="0" y="693004"/>
              </a:lnTo>
              <a:lnTo>
                <a:pt x="184801" y="69300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AE1CB62-EA53-4171-851C-374C083E93C5}">
      <dsp:nvSpPr>
        <dsp:cNvPr id="0" name=""/>
        <dsp:cNvSpPr/>
      </dsp:nvSpPr>
      <dsp:spPr>
        <a:xfrm>
          <a:off x="4995050" y="1995795"/>
          <a:ext cx="1478409" cy="92400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300GB </a:t>
          </a:r>
          <a:r>
            <a:rPr lang="en-US" sz="1800" kern="1200" baseline="0" dirty="0"/>
            <a:t>per node</a:t>
          </a:r>
          <a:endParaRPr lang="en-US" sz="1800" kern="1200" dirty="0"/>
        </a:p>
      </dsp:txBody>
      <dsp:txXfrm>
        <a:off x="5022113" y="2022858"/>
        <a:ext cx="1424283" cy="869879"/>
      </dsp:txXfrm>
    </dsp:sp>
    <dsp:sp modelId="{D4828746-0A20-4283-88BF-BCB99DA69F4C}">
      <dsp:nvSpPr>
        <dsp:cNvPr id="0" name=""/>
        <dsp:cNvSpPr/>
      </dsp:nvSpPr>
      <dsp:spPr>
        <a:xfrm>
          <a:off x="6935462" y="840788"/>
          <a:ext cx="1848011" cy="92400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More readers</a:t>
          </a:r>
          <a:endParaRPr lang="en-US" sz="2400" kern="1200" dirty="0"/>
        </a:p>
      </dsp:txBody>
      <dsp:txXfrm>
        <a:off x="6962525" y="867851"/>
        <a:ext cx="1793885" cy="869879"/>
      </dsp:txXfrm>
    </dsp:sp>
    <dsp:sp modelId="{009FA064-F174-44C9-9FA0-2165A598C396}">
      <dsp:nvSpPr>
        <dsp:cNvPr id="0" name=""/>
        <dsp:cNvSpPr/>
      </dsp:nvSpPr>
      <dsp:spPr>
        <a:xfrm>
          <a:off x="7120263" y="1764794"/>
          <a:ext cx="184801" cy="693004"/>
        </a:xfrm>
        <a:custGeom>
          <a:avLst/>
          <a:gdLst/>
          <a:ahLst/>
          <a:cxnLst/>
          <a:rect l="0" t="0" r="0" b="0"/>
          <a:pathLst>
            <a:path>
              <a:moveTo>
                <a:pt x="0" y="0"/>
              </a:moveTo>
              <a:lnTo>
                <a:pt x="0" y="693004"/>
              </a:lnTo>
              <a:lnTo>
                <a:pt x="184801" y="69300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797D83-9842-4215-AE64-659CE3BE4663}">
      <dsp:nvSpPr>
        <dsp:cNvPr id="0" name=""/>
        <dsp:cNvSpPr/>
      </dsp:nvSpPr>
      <dsp:spPr>
        <a:xfrm>
          <a:off x="7305064" y="1995795"/>
          <a:ext cx="1478409" cy="92400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 Polybase = 20 per node</a:t>
          </a:r>
          <a:endParaRPr lang="en-US" sz="1800" kern="1200" dirty="0"/>
        </a:p>
      </dsp:txBody>
      <dsp:txXfrm>
        <a:off x="7332127" y="2022858"/>
        <a:ext cx="1424283" cy="869879"/>
      </dsp:txXfrm>
    </dsp:sp>
    <dsp:sp modelId="{E69D5662-B510-4DD3-930D-3CDDD59A85B1}">
      <dsp:nvSpPr>
        <dsp:cNvPr id="0" name=""/>
        <dsp:cNvSpPr/>
      </dsp:nvSpPr>
      <dsp:spPr>
        <a:xfrm>
          <a:off x="7120263" y="1764794"/>
          <a:ext cx="184801" cy="1848011"/>
        </a:xfrm>
        <a:custGeom>
          <a:avLst/>
          <a:gdLst/>
          <a:ahLst/>
          <a:cxnLst/>
          <a:rect l="0" t="0" r="0" b="0"/>
          <a:pathLst>
            <a:path>
              <a:moveTo>
                <a:pt x="0" y="0"/>
              </a:moveTo>
              <a:lnTo>
                <a:pt x="0" y="1848011"/>
              </a:lnTo>
              <a:lnTo>
                <a:pt x="184801" y="184801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15FC80-65EF-4F60-8F56-5FCB2E0D7658}">
      <dsp:nvSpPr>
        <dsp:cNvPr id="0" name=""/>
        <dsp:cNvSpPr/>
      </dsp:nvSpPr>
      <dsp:spPr>
        <a:xfrm>
          <a:off x="7305064" y="3150802"/>
          <a:ext cx="1478409" cy="92400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 </a:t>
          </a:r>
          <a:r>
            <a:rPr lang="en-US" sz="1800" kern="1200" baseline="0" dirty="0"/>
            <a:t>COPY is up to 75 per node</a:t>
          </a:r>
          <a:endParaRPr lang="en-US" sz="1800" kern="1200" dirty="0"/>
        </a:p>
      </dsp:txBody>
      <dsp:txXfrm>
        <a:off x="7332127" y="3177865"/>
        <a:ext cx="1424283" cy="869879"/>
      </dsp:txXfrm>
    </dsp:sp>
    <dsp:sp modelId="{3534D797-DDD4-4F0D-8C98-73112111E206}">
      <dsp:nvSpPr>
        <dsp:cNvPr id="0" name=""/>
        <dsp:cNvSpPr/>
      </dsp:nvSpPr>
      <dsp:spPr>
        <a:xfrm>
          <a:off x="9245476" y="840788"/>
          <a:ext cx="1848011" cy="92400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More concurrency</a:t>
          </a:r>
          <a:endParaRPr lang="en-US" sz="2400" kern="1200" dirty="0"/>
        </a:p>
      </dsp:txBody>
      <dsp:txXfrm>
        <a:off x="9272539" y="867851"/>
        <a:ext cx="1793885" cy="869879"/>
      </dsp:txXfrm>
    </dsp:sp>
    <dsp:sp modelId="{5ABF5E67-0AEE-460C-89D9-1D79401AD3FB}">
      <dsp:nvSpPr>
        <dsp:cNvPr id="0" name=""/>
        <dsp:cNvSpPr/>
      </dsp:nvSpPr>
      <dsp:spPr>
        <a:xfrm>
          <a:off x="9430277" y="1764794"/>
          <a:ext cx="184801" cy="693004"/>
        </a:xfrm>
        <a:custGeom>
          <a:avLst/>
          <a:gdLst/>
          <a:ahLst/>
          <a:cxnLst/>
          <a:rect l="0" t="0" r="0" b="0"/>
          <a:pathLst>
            <a:path>
              <a:moveTo>
                <a:pt x="0" y="0"/>
              </a:moveTo>
              <a:lnTo>
                <a:pt x="0" y="693004"/>
              </a:lnTo>
              <a:lnTo>
                <a:pt x="184801" y="69300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4780058-BB3B-4068-897D-EA929BB4A701}">
      <dsp:nvSpPr>
        <dsp:cNvPr id="0" name=""/>
        <dsp:cNvSpPr/>
      </dsp:nvSpPr>
      <dsp:spPr>
        <a:xfrm>
          <a:off x="9615078" y="1995795"/>
          <a:ext cx="1478409" cy="92400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Up to 128 @ DW6000c</a:t>
          </a:r>
          <a:endParaRPr lang="en-US" sz="1800" kern="1200" dirty="0"/>
        </a:p>
      </dsp:txBody>
      <dsp:txXfrm>
        <a:off x="9642141" y="2022858"/>
        <a:ext cx="1424283" cy="869879"/>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9.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5/2022 7:0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15/2022 7:09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644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404647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Delivery Guide for step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4172101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4046478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e previously-configured azure dashboards to identify workload issu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4172101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4046478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to take advantage of increased concurrency you need to move to static resource classes or custom workload groups. When using the default </a:t>
            </a:r>
            <a:r>
              <a:rPr lang="en-US" dirty="0" err="1"/>
              <a:t>SmallRC</a:t>
            </a:r>
            <a:r>
              <a:rPr lang="en-US" dirty="0"/>
              <a:t> you can only get to maximum concurrency of 32 since </a:t>
            </a:r>
            <a:r>
              <a:rPr lang="en-US" dirty="0" err="1"/>
              <a:t>SmallRC</a:t>
            </a:r>
            <a:r>
              <a:rPr lang="en-US" dirty="0"/>
              <a:t> grants 3% of memory. Dynamic resource classes allow more resources per query when you scale up, static resource classes allow more concurrency as you scale up.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5268907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4172101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79736" marR="0" lvl="0" indent="0">
              <a:lnSpc>
                <a:spcPct val="106000"/>
              </a:lnSpc>
              <a:spcBef>
                <a:spcPts val="0"/>
              </a:spcBef>
              <a:spcAft>
                <a:spcPts val="0"/>
              </a:spcAft>
              <a:buFont typeface="+mj-lt"/>
              <a:buNone/>
              <a:tabLst>
                <a:tab pos="1371600" algn="l"/>
              </a:tabLst>
            </a:pPr>
            <a:r>
              <a:rPr lang="en-US" sz="1800" dirty="0">
                <a:effectLst/>
                <a:latin typeface="Segoe UI Light" panose="020B0502040204020203" pitchFamily="34" charset="0"/>
                <a:ea typeface="Times New Roman" panose="02020603050405020304" pitchFamily="18" charset="0"/>
              </a:rPr>
              <a:t>1. </a:t>
            </a:r>
          </a:p>
          <a:p>
            <a:pPr marL="1143000" marR="0" lvl="2" indent="-228600">
              <a:lnSpc>
                <a:spcPct val="106000"/>
              </a:lnSpc>
              <a:spcBef>
                <a:spcPts val="0"/>
              </a:spcBef>
              <a:spcAft>
                <a:spcPts val="0"/>
              </a:spcAft>
              <a:buFont typeface="+mj-lt"/>
              <a:buAutoNum type="alphaLcPeriod"/>
              <a:tabLst>
                <a:tab pos="1371600" algn="l"/>
              </a:tabLst>
            </a:pPr>
            <a:r>
              <a:rPr lang="en-US" sz="1800" dirty="0">
                <a:effectLst/>
                <a:latin typeface="Segoe UI Light" panose="020B0502040204020203" pitchFamily="34" charset="0"/>
                <a:ea typeface="Times New Roman" panose="02020603050405020304" pitchFamily="18" charset="0"/>
              </a:rPr>
              <a:t>More Nodes</a:t>
            </a:r>
            <a:endParaRPr lang="en-US" sz="1800" dirty="0">
              <a:effectLst/>
              <a:latin typeface="Times New Roman" panose="02020603050405020304" pitchFamily="18" charset="0"/>
              <a:ea typeface="Times New Roman" panose="02020603050405020304" pitchFamily="18" charset="0"/>
            </a:endParaRPr>
          </a:p>
          <a:p>
            <a:pPr marL="1143000" marR="0" lvl="2" indent="-228600">
              <a:lnSpc>
                <a:spcPct val="106000"/>
              </a:lnSpc>
              <a:spcBef>
                <a:spcPts val="0"/>
              </a:spcBef>
              <a:spcAft>
                <a:spcPts val="0"/>
              </a:spcAft>
              <a:buFont typeface="+mj-lt"/>
              <a:buAutoNum type="alphaLcPeriod"/>
              <a:tabLst>
                <a:tab pos="1371600" algn="l"/>
              </a:tabLst>
            </a:pPr>
            <a:r>
              <a:rPr lang="en-US" sz="1800" dirty="0">
                <a:effectLst/>
                <a:latin typeface="Segoe UI Light" panose="020B0502040204020203" pitchFamily="34" charset="0"/>
                <a:ea typeface="Times New Roman" panose="02020603050405020304" pitchFamily="18" charset="0"/>
              </a:rPr>
              <a:t>Increased Tempdb</a:t>
            </a:r>
            <a:endParaRPr lang="en-US" sz="1800" dirty="0">
              <a:effectLst/>
              <a:latin typeface="Times New Roman" panose="02020603050405020304" pitchFamily="18" charset="0"/>
              <a:ea typeface="Times New Roman" panose="02020603050405020304" pitchFamily="18" charset="0"/>
            </a:endParaRPr>
          </a:p>
          <a:p>
            <a:pPr marL="1143000" marR="0" lvl="2" indent="-228600">
              <a:lnSpc>
                <a:spcPct val="106000"/>
              </a:lnSpc>
              <a:spcBef>
                <a:spcPts val="0"/>
              </a:spcBef>
              <a:spcAft>
                <a:spcPts val="0"/>
              </a:spcAft>
              <a:buFont typeface="+mj-lt"/>
              <a:buAutoNum type="alphaLcPeriod"/>
              <a:tabLst>
                <a:tab pos="1371600" algn="l"/>
              </a:tabLst>
            </a:pPr>
            <a:r>
              <a:rPr lang="en-US" sz="1800" dirty="0">
                <a:effectLst/>
                <a:latin typeface="Segoe UI Light" panose="020B0502040204020203" pitchFamily="34" charset="0"/>
                <a:ea typeface="Times New Roman" panose="02020603050405020304" pitchFamily="18" charset="0"/>
              </a:rPr>
              <a:t>More Readers</a:t>
            </a:r>
          </a:p>
          <a:p>
            <a:pPr marL="1143000" marR="0" lvl="2" indent="-228600">
              <a:lnSpc>
                <a:spcPct val="106000"/>
              </a:lnSpc>
              <a:spcBef>
                <a:spcPts val="0"/>
              </a:spcBef>
              <a:spcAft>
                <a:spcPts val="0"/>
              </a:spcAft>
              <a:buFont typeface="+mj-lt"/>
              <a:buAutoNum type="alphaLcPeriod"/>
              <a:tabLst>
                <a:tab pos="1371600" algn="l"/>
              </a:tabLst>
            </a:pPr>
            <a:r>
              <a:rPr lang="en-US" sz="1800" dirty="0">
                <a:effectLst/>
                <a:latin typeface="Segoe UI Light" panose="020B0502040204020203" pitchFamily="34" charset="0"/>
                <a:ea typeface="Times New Roman" panose="02020603050405020304" pitchFamily="18" charset="0"/>
              </a:rPr>
              <a:t>More Concurrency </a:t>
            </a:r>
          </a:p>
          <a:p>
            <a:pPr marL="914400" marR="0" lvl="2" indent="0">
              <a:lnSpc>
                <a:spcPct val="106000"/>
              </a:lnSpc>
              <a:spcBef>
                <a:spcPts val="0"/>
              </a:spcBef>
              <a:spcAft>
                <a:spcPts val="0"/>
              </a:spcAft>
              <a:buFont typeface="+mj-lt"/>
              <a:buNone/>
              <a:tabLst>
                <a:tab pos="1371600" algn="l"/>
              </a:tabLst>
            </a:pPr>
            <a:endParaRPr lang="en-US" sz="1800" dirty="0">
              <a:effectLst/>
              <a:latin typeface="Times New Roman" panose="02020603050405020304" pitchFamily="18" charset="0"/>
              <a:ea typeface="Times New Roman" panose="02020603050405020304" pitchFamily="18" charset="0"/>
            </a:endParaRPr>
          </a:p>
          <a:p>
            <a:pPr marL="721151" lvl="3" indent="-228600">
              <a:buAutoNum type="arabicPeriod" startAt="2"/>
            </a:pPr>
            <a:r>
              <a:rPr lang="en-US" dirty="0"/>
              <a:t>True</a:t>
            </a:r>
          </a:p>
          <a:p>
            <a:pPr marL="721151" lvl="3" indent="-228600">
              <a:buAutoNum type="arabicPeriod" startAt="2"/>
            </a:pPr>
            <a:r>
              <a:rPr lang="en-US" dirty="0"/>
              <a:t>20 Per Node</a:t>
            </a:r>
          </a:p>
          <a:p>
            <a:pPr marL="721151" lvl="3" indent="-228600">
              <a:buAutoNum type="arabicPeriod" startAt="2"/>
            </a:pPr>
            <a:r>
              <a:rPr lang="en-US" dirty="0"/>
              <a:t>75 Per Node</a:t>
            </a:r>
          </a:p>
          <a:p>
            <a:pPr marL="721151" lvl="3" indent="-228600">
              <a:buAutoNum type="arabicPeriod" startAt="2"/>
            </a:pPr>
            <a:endParaRPr lang="en-US" dirty="0"/>
          </a:p>
          <a:p>
            <a:pPr marL="721151" lvl="3" indent="-228600">
              <a:buAutoNum type="arabicPeriod" startAt="2"/>
            </a:pPr>
            <a:endParaRPr lang="en-US" dirty="0"/>
          </a:p>
          <a:p>
            <a:pPr marL="721151" lvl="3" indent="-228600">
              <a:buAutoNum type="arabicPeriod" startAt="2"/>
            </a:pPr>
            <a:endParaRPr lang="en-US" dirty="0"/>
          </a:p>
          <a:p>
            <a:pPr marL="579736" marR="0" lvl="0" indent="0">
              <a:lnSpc>
                <a:spcPct val="106000"/>
              </a:lnSpc>
              <a:spcBef>
                <a:spcPts val="0"/>
              </a:spcBef>
              <a:spcAft>
                <a:spcPts val="0"/>
              </a:spcAft>
              <a:buFont typeface="+mj-lt"/>
              <a:buNone/>
              <a:tabLst>
                <a:tab pos="1371600" algn="l"/>
              </a:tabLs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404647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Metrics is a no-cost feature built into azure to provide you with metrics on the various resources you run in Azure. You can use the Azure metrics pane to build charts around various metrics. The metrics are low latency but are not quite </a:t>
            </a:r>
            <a:r>
              <a:rPr lang="en-US" dirty="0" err="1"/>
              <a:t>realtime</a:t>
            </a:r>
            <a:r>
              <a:rPr lang="en-US" dirty="0"/>
              <a:t>. In general we see that these metrics lag less than 5 minutes behind real time, usually closer to 1-2 minutes lag, so they can be used reliably to determine the current state of the system.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260132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2515710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3E3E3"/>
                </a:solidFill>
                <a:effectLst/>
                <a:latin typeface="Segoe UI" panose="020B0502040204020203" pitchFamily="34" charset="0"/>
              </a:rPr>
              <a:t>DWU used represents only a </a:t>
            </a:r>
            <a:r>
              <a:rPr lang="en-US" b="1" i="0" dirty="0">
                <a:solidFill>
                  <a:srgbClr val="E3E3E3"/>
                </a:solidFill>
                <a:effectLst/>
                <a:latin typeface="Segoe UI" panose="020B0502040204020203" pitchFamily="34" charset="0"/>
              </a:rPr>
              <a:t>high-level representation of usage</a:t>
            </a:r>
            <a:r>
              <a:rPr lang="en-US" b="0" i="0" dirty="0">
                <a:solidFill>
                  <a:srgbClr val="E3E3E3"/>
                </a:solidFill>
                <a:effectLst/>
                <a:latin typeface="Segoe UI" panose="020B0502040204020203" pitchFamily="34" charset="0"/>
              </a:rPr>
              <a:t> across the SQL pool and is not meant to be a comprehensive indicator of utilization. To determine whether to scale up or down, consider all factors which can be impacted by DWU such as concurrency, memory, tempdb, and adaptive cache capacity.</a:t>
            </a:r>
          </a:p>
          <a:p>
            <a:endParaRPr lang="en-US" b="0" i="0" dirty="0">
              <a:solidFill>
                <a:srgbClr val="E3E3E3"/>
              </a:solidFill>
              <a:effectLst/>
              <a:latin typeface="Segoe UI" panose="020B0502040204020203" pitchFamily="34" charset="0"/>
            </a:endParaRPr>
          </a:p>
          <a:p>
            <a:r>
              <a:rPr lang="en-US" b="0" i="0" dirty="0">
                <a:solidFill>
                  <a:srgbClr val="E3E3E3"/>
                </a:solidFill>
                <a:effectLst/>
                <a:latin typeface="Segoe UI" panose="020B0502040204020203" pitchFamily="34" charset="0"/>
              </a:rPr>
              <a:t>Failed and successful connections are reported for a particular data warehouse - not for the server itself</a:t>
            </a:r>
          </a:p>
          <a:p>
            <a:endParaRPr lang="en-US" b="0"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E3E3E3"/>
                </a:solidFill>
                <a:effectLst/>
                <a:latin typeface="Segoe UI" panose="020B0502040204020203" pitchFamily="34" charset="0"/>
              </a:rPr>
              <a:t>Memory percentage reflects utilization even if the data warehouse is in idle state - it does not reflect active workload memory consumption. Use and track this metric along with others (tempdb, gen2 cache) to make a holistic decision on if scaling for additional cache capacity will increase workload performance to meet your requirement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294602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7:0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04647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17946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773210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938337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377866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872488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743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6185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503803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7778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3007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41124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46980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096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86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65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887269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2580074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79248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16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42366775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a:prstGeom prst="rect">
            <a:avLst/>
          </a:prstGeom>
        </p:spPr>
        <p:txBody>
          <a:bodyPr/>
          <a:lstStyle>
            <a:lvl1pPr>
              <a:defRPr>
                <a:solidFill>
                  <a:schemeClr val="tx2"/>
                </a:solidFill>
              </a:defRPr>
            </a:lvl1pPr>
          </a:lstStyle>
          <a:p>
            <a:r>
              <a:rPr lang="en-US"/>
              <a:t>Click to edit Master title style</a:t>
            </a:r>
            <a:endParaRPr lang="en-GB"/>
          </a:p>
        </p:txBody>
      </p:sp>
      <p:sp>
        <p:nvSpPr>
          <p:cNvPr id="3" name="Text Placeholder 2"/>
          <p:cNvSpPr>
            <a:spLocks noGrp="1"/>
          </p:cNvSpPr>
          <p:nvPr>
            <p:ph type="body" idx="1"/>
          </p:nvPr>
        </p:nvSpPr>
        <p:spPr>
          <a:xfrm>
            <a:off x="856628" y="1466057"/>
            <a:ext cx="5261211" cy="1088888"/>
          </a:xfrm>
          <a:prstGeom prst="rect">
            <a:avLst/>
          </a:prstGeom>
        </p:spPr>
        <p:txBody>
          <a:bodyPr anchor="b"/>
          <a:lstStyle>
            <a:lvl1pPr marL="0" indent="0">
              <a:buNone/>
              <a:defRPr sz="3264" b="1">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2646878"/>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1714631"/>
            <a:ext cx="5287122" cy="840314"/>
          </a:xfrm>
          <a:prstGeom prst="rect">
            <a:avLst/>
          </a:prstGeom>
        </p:spPr>
        <p:txBody>
          <a:bodyPr anchor="b">
            <a:noAutofit/>
          </a:bodyPr>
          <a:lstStyle>
            <a:lvl1pPr marL="0" indent="0">
              <a:buNone/>
              <a:defRPr sz="3264" b="1">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264687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 Microsoft 2014</a:t>
            </a:r>
          </a:p>
        </p:txBody>
      </p:sp>
      <p:sp>
        <p:nvSpPr>
          <p:cNvPr id="9" name="Slide Number Placeholder 8"/>
          <p:cNvSpPr>
            <a:spLocks noGrp="1"/>
          </p:cNvSpPr>
          <p:nvPr>
            <p:ph type="sldNum"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D75E92BD-1670-425B-83DE-6D52607E5D57}" type="slidenum">
              <a:rPr kumimoji="0" lang="en-GB"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1431194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13188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309753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77745739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65748725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9091262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69110631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52182630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714541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622278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7322242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3076453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936137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2748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874105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03721243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1827734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6535775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62039663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0246506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6900460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7049583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0997222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561830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3419619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4426299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8471424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5146535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0448660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2692259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7282951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3287573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0760547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44724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61058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863191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8535539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4664557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996679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0451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23206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550123"/>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0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522369441"/>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99713090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235568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a:t>2/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a:t>‹#›</a:t>
            </a:fld>
            <a:endParaRPr lang="en-US" dirty="0"/>
          </a:p>
        </p:txBody>
      </p:sp>
    </p:spTree>
    <p:extLst>
      <p:ext uri="{BB962C8B-B14F-4D97-AF65-F5344CB8AC3E}">
        <p14:creationId xmlns:p14="http://schemas.microsoft.com/office/powerpoint/2010/main" val="5974390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449382765"/>
      </p:ext>
    </p:extLst>
  </p:cSld>
  <p:clrMapOvr>
    <a:masterClrMapping/>
  </p:clrMapOvr>
  <p:transition>
    <p:fade/>
  </p:transition>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91105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7783882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885723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1540192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7"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744351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9818669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472207612"/>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2132492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0676615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62463054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93459641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351910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49789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2347775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4959359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989868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81101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88230151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74703009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3664726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02474618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77985148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294103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3272688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9101664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438929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750521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0996110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00630712"/>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1828501"/>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2099137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631613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532464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857097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172354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759287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776556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5757497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9295229"/>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6153941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208361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36795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693625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951283"/>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17926"/>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20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93699130"/>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610394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490742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dirty="0"/>
              <a:t>2/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a:p>
        </p:txBody>
      </p:sp>
    </p:spTree>
    <p:extLst>
      <p:ext uri="{BB962C8B-B14F-4D97-AF65-F5344CB8AC3E}">
        <p14:creationId xmlns:p14="http://schemas.microsoft.com/office/powerpoint/2010/main" val="24970946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600944938"/>
      </p:ext>
    </p:extLst>
  </p:cSld>
  <p:clrMapOvr>
    <a:masterClrMapping/>
  </p:clrMapOvr>
  <p:transition>
    <p:fade/>
  </p:transition>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59988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138873596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4258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3968250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11879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2739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383495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1.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slideLayout" Target="../slideLayouts/slideLayout93.xml"/><Relationship Id="rId50" Type="http://schemas.openxmlformats.org/officeDocument/2006/relationships/tags" Target="../tags/tag1.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3" Type="http://schemas.openxmlformats.org/officeDocument/2006/relationships/image" Target="../media/image7.emf"/><Relationship Id="rId5" Type="http://schemas.openxmlformats.org/officeDocument/2006/relationships/slideLayout" Target="../slideLayouts/slideLayout5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tags" Target="../tags/tag3.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slideLayout" Target="../slideLayouts/slideLayout94.xml"/><Relationship Id="rId8" Type="http://schemas.openxmlformats.org/officeDocument/2006/relationships/slideLayout" Target="../slideLayouts/slideLayout54.xml"/><Relationship Id="rId51" Type="http://schemas.openxmlformats.org/officeDocument/2006/relationships/tags" Target="../tags/tag2.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theme" Target="../theme/theme4.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9" Type="http://schemas.openxmlformats.org/officeDocument/2006/relationships/slideLayout" Target="../slideLayouts/slideLayout158.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50" Type="http://schemas.openxmlformats.org/officeDocument/2006/relationships/tags" Target="../tags/tag4.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9" Type="http://schemas.openxmlformats.org/officeDocument/2006/relationships/slideLayout" Target="../slideLayouts/slideLayout148.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53" Type="http://schemas.openxmlformats.org/officeDocument/2006/relationships/image" Target="../media/image7.emf"/><Relationship Id="rId5" Type="http://schemas.openxmlformats.org/officeDocument/2006/relationships/slideLayout" Target="../slideLayouts/slideLayout124.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52" Type="http://schemas.openxmlformats.org/officeDocument/2006/relationships/tags" Target="../tags/tag6.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8" Type="http://schemas.openxmlformats.org/officeDocument/2006/relationships/slideLayout" Target="../slideLayouts/slideLayout127.xml"/><Relationship Id="rId51" Type="http://schemas.openxmlformats.org/officeDocument/2006/relationships/tags" Target="../tags/tag5.xml"/><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20" Type="http://schemas.openxmlformats.org/officeDocument/2006/relationships/slideLayout" Target="../slideLayouts/slideLayout139.xml"/><Relationship Id="rId41" Type="http://schemas.openxmlformats.org/officeDocument/2006/relationships/slideLayout" Target="../slideLayouts/slideLayout160.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417" r:id="rId24"/>
    <p:sldLayoutId id="214748441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8651976"/>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 id="2147484292" r:id="rId22"/>
    <p:sldLayoutId id="2147484293" r:id="rId23"/>
    <p:sldLayoutId id="2147484294" r:id="rId24"/>
    <p:sldLayoutId id="2147484295" r:id="rId25"/>
    <p:sldLayoutId id="2147484296" r:id="rId26"/>
    <p:sldLayoutId id="2147484297" r:id="rId27"/>
    <p:sldLayoutId id="2147484298" r:id="rId28"/>
    <p:sldLayoutId id="2147484299" r:id="rId29"/>
    <p:sldLayoutId id="2147484300" r:id="rId30"/>
    <p:sldLayoutId id="2147484301" r:id="rId31"/>
    <p:sldLayoutId id="2147484302" r:id="rId32"/>
    <p:sldLayoutId id="2147484303" r:id="rId33"/>
    <p:sldLayoutId id="2147484304" r:id="rId34"/>
    <p:sldLayoutId id="2147484305" r:id="rId35"/>
    <p:sldLayoutId id="2147484306" r:id="rId36"/>
    <p:sldLayoutId id="2147484307" r:id="rId37"/>
    <p:sldLayoutId id="2147484308" r:id="rId38"/>
    <p:sldLayoutId id="2147484309" r:id="rId39"/>
    <p:sldLayoutId id="2147484310" r:id="rId40"/>
    <p:sldLayoutId id="2147484311" r:id="rId41"/>
    <p:sldLayoutId id="2147484312" r:id="rId42"/>
    <p:sldLayoutId id="2147484313" r:id="rId43"/>
    <p:sldLayoutId id="2147484314" r:id="rId44"/>
    <p:sldLayoutId id="2147484315" r:id="rId45"/>
    <p:sldLayoutId id="2147484316" r:id="rId46"/>
    <p:sldLayoutId id="2147484317" r:id="rId47"/>
    <p:sldLayoutId id="2147484318" r:id="rId48"/>
  </p:sldLayoutIdLst>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224991"/>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2743908"/>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 id="2147484402" r:id="rId34"/>
    <p:sldLayoutId id="2147484403" r:id="rId35"/>
    <p:sldLayoutId id="2147484404" r:id="rId36"/>
    <p:sldLayoutId id="2147484405" r:id="rId37"/>
    <p:sldLayoutId id="2147484406" r:id="rId38"/>
    <p:sldLayoutId id="2147484407" r:id="rId39"/>
    <p:sldLayoutId id="2147484408" r:id="rId40"/>
    <p:sldLayoutId id="2147484409" r:id="rId41"/>
    <p:sldLayoutId id="2147484410" r:id="rId42"/>
    <p:sldLayoutId id="2147484411" r:id="rId43"/>
    <p:sldLayoutId id="2147484412" r:id="rId44"/>
    <p:sldLayoutId id="2147484413" r:id="rId45"/>
    <p:sldLayoutId id="2147484414" r:id="rId46"/>
    <p:sldLayoutId id="2147484415" r:id="rId47"/>
    <p:sldLayoutId id="2147484416" r:id="rId48"/>
  </p:sldLayoutIdLst>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2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9.xml"/><Relationship Id="rId7" Type="http://schemas.openxmlformats.org/officeDocument/2006/relationships/notesSlide" Target="../notesSlides/notesSlide9.xml"/><Relationship Id="rId2" Type="http://schemas.openxmlformats.org/officeDocument/2006/relationships/customXml" Target="../../customXml/item10.xml"/><Relationship Id="rId1" Type="http://schemas.openxmlformats.org/officeDocument/2006/relationships/tags" Target="../tags/tag8.xml"/><Relationship Id="rId6" Type="http://schemas.openxmlformats.org/officeDocument/2006/relationships/slideLayout" Target="../slideLayouts/slideLayout128.xml"/><Relationship Id="rId5" Type="http://schemas.openxmlformats.org/officeDocument/2006/relationships/customXml" Target="../../customXml/item3.xml"/><Relationship Id="rId4" Type="http://schemas.openxmlformats.org/officeDocument/2006/relationships/customXml" Target="../../customXml/item18.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diagramLayout" Target="../diagrams/layout5.xml"/><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diagramData" Target="../diagrams/data5.xml"/><Relationship Id="rId2" Type="http://schemas.openxmlformats.org/officeDocument/2006/relationships/diagramData" Target="../diagrams/data3.xml"/><Relationship Id="rId16" Type="http://schemas.microsoft.com/office/2007/relationships/diagramDrawing" Target="../diagrams/drawing5.xml"/><Relationship Id="rId1" Type="http://schemas.openxmlformats.org/officeDocument/2006/relationships/slideLayout" Target="../slideLayouts/slideLayout127.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5" Type="http://schemas.openxmlformats.org/officeDocument/2006/relationships/diagramColors" Target="../diagrams/colors5.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5.xml"/></Relationships>
</file>

<file path=ppt/slides/_rels/slide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20.xml"/><Relationship Id="rId7" Type="http://schemas.openxmlformats.org/officeDocument/2006/relationships/notesSlide" Target="../notesSlides/notesSlide11.xml"/><Relationship Id="rId2" Type="http://schemas.openxmlformats.org/officeDocument/2006/relationships/customXml" Target="../../customXml/item23.xml"/><Relationship Id="rId1" Type="http://schemas.openxmlformats.org/officeDocument/2006/relationships/tags" Target="../tags/tag9.xml"/><Relationship Id="rId6" Type="http://schemas.openxmlformats.org/officeDocument/2006/relationships/slideLayout" Target="../slideLayouts/slideLayout128.xml"/><Relationship Id="rId5" Type="http://schemas.openxmlformats.org/officeDocument/2006/relationships/customXml" Target="../../customXml/item2.xml"/><Relationship Id="rId4" Type="http://schemas.openxmlformats.org/officeDocument/2006/relationships/customXml" Target="../../customXml/item4.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2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21.xml"/><Relationship Id="rId7" Type="http://schemas.openxmlformats.org/officeDocument/2006/relationships/notesSlide" Target="../notesSlides/notesSlide14.xml"/><Relationship Id="rId2" Type="http://schemas.openxmlformats.org/officeDocument/2006/relationships/customXml" Target="../../customXml/item19.xml"/><Relationship Id="rId1" Type="http://schemas.openxmlformats.org/officeDocument/2006/relationships/tags" Target="../tags/tag10.xml"/><Relationship Id="rId6" Type="http://schemas.openxmlformats.org/officeDocument/2006/relationships/slideLayout" Target="../slideLayouts/slideLayout128.xml"/><Relationship Id="rId5" Type="http://schemas.openxmlformats.org/officeDocument/2006/relationships/customXml" Target="../../customXml/item16.xml"/><Relationship Id="rId4" Type="http://schemas.openxmlformats.org/officeDocument/2006/relationships/customXml" Target="../../customXml/item17.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27.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5.xml"/></Relationships>
</file>

<file path=ppt/slides/_rels/slide2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8.xml"/><Relationship Id="rId7" Type="http://schemas.openxmlformats.org/officeDocument/2006/relationships/notesSlide" Target="../notesSlides/notesSlide17.xml"/><Relationship Id="rId2" Type="http://schemas.openxmlformats.org/officeDocument/2006/relationships/customXml" Target="../../customXml/item15.xml"/><Relationship Id="rId1" Type="http://schemas.openxmlformats.org/officeDocument/2006/relationships/tags" Target="../tags/tag11.xml"/><Relationship Id="rId6" Type="http://schemas.openxmlformats.org/officeDocument/2006/relationships/slideLayout" Target="../slideLayouts/slideLayout128.xml"/><Relationship Id="rId5" Type="http://schemas.openxmlformats.org/officeDocument/2006/relationships/customXml" Target="../../customXml/item14.xml"/><Relationship Id="rId4" Type="http://schemas.openxmlformats.org/officeDocument/2006/relationships/customXml" Target="../../customXml/item2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2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8.xml"/><Relationship Id="rId1" Type="http://schemas.openxmlformats.org/officeDocument/2006/relationships/slideLayout" Target="../slideLayouts/slideLayout127.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6.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diagramData" Target="../diagrams/data12.xml"/><Relationship Id="rId18" Type="http://schemas.openxmlformats.org/officeDocument/2006/relationships/diagramData" Target="../diagrams/data13.xml"/><Relationship Id="rId3" Type="http://schemas.openxmlformats.org/officeDocument/2006/relationships/diagramData" Target="../diagrams/data10.xml"/><Relationship Id="rId21" Type="http://schemas.openxmlformats.org/officeDocument/2006/relationships/diagramColors" Target="../diagrams/colors13.xml"/><Relationship Id="rId7" Type="http://schemas.microsoft.com/office/2007/relationships/diagramDrawing" Target="../diagrams/drawing10.xml"/><Relationship Id="rId12" Type="http://schemas.microsoft.com/office/2007/relationships/diagramDrawing" Target="../diagrams/drawing11.xml"/><Relationship Id="rId17" Type="http://schemas.microsoft.com/office/2007/relationships/diagramDrawing" Target="../diagrams/drawing12.xml"/><Relationship Id="rId2" Type="http://schemas.openxmlformats.org/officeDocument/2006/relationships/notesSlide" Target="../notesSlides/notesSlide20.xml"/><Relationship Id="rId16" Type="http://schemas.openxmlformats.org/officeDocument/2006/relationships/diagramColors" Target="../diagrams/colors12.xml"/><Relationship Id="rId20" Type="http://schemas.openxmlformats.org/officeDocument/2006/relationships/diagramQuickStyle" Target="../diagrams/quickStyle13.xml"/><Relationship Id="rId1" Type="http://schemas.openxmlformats.org/officeDocument/2006/relationships/slideLayout" Target="../slideLayouts/slideLayout127.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5" Type="http://schemas.openxmlformats.org/officeDocument/2006/relationships/diagramQuickStyle" Target="../diagrams/quickStyle12.xml"/><Relationship Id="rId10" Type="http://schemas.openxmlformats.org/officeDocument/2006/relationships/diagramQuickStyle" Target="../diagrams/quickStyle11.xml"/><Relationship Id="rId19" Type="http://schemas.openxmlformats.org/officeDocument/2006/relationships/diagramLayout" Target="../diagrams/layout13.xml"/><Relationship Id="rId4" Type="http://schemas.openxmlformats.org/officeDocument/2006/relationships/diagramLayout" Target="../diagrams/layout10.xml"/><Relationship Id="rId9" Type="http://schemas.openxmlformats.org/officeDocument/2006/relationships/diagramLayout" Target="../diagrams/layout11.xml"/><Relationship Id="rId14" Type="http://schemas.openxmlformats.org/officeDocument/2006/relationships/diagramLayout" Target="../diagrams/layout12.xml"/><Relationship Id="rId22" Type="http://schemas.microsoft.com/office/2007/relationships/diagramDrawing" Target="../diagrams/drawing1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9.xml"/><Relationship Id="rId1" Type="http://schemas.openxmlformats.org/officeDocument/2006/relationships/tags" Target="../tags/tag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6.xml"/><Relationship Id="rId7" Type="http://schemas.openxmlformats.org/officeDocument/2006/relationships/notesSlide" Target="../notesSlides/notesSlide4.xml"/><Relationship Id="rId2" Type="http://schemas.openxmlformats.org/officeDocument/2006/relationships/customXml" Target="../../customXml/item7.xml"/><Relationship Id="rId1" Type="http://schemas.openxmlformats.org/officeDocument/2006/relationships/tags" Target="../tags/tag7.xml"/><Relationship Id="rId6" Type="http://schemas.openxmlformats.org/officeDocument/2006/relationships/slideLayout" Target="../slideLayouts/slideLayout128.xml"/><Relationship Id="rId5" Type="http://schemas.openxmlformats.org/officeDocument/2006/relationships/customXml" Target="../../customXml/item13.xml"/><Relationship Id="rId4" Type="http://schemas.openxmlformats.org/officeDocument/2006/relationships/customXml" Target="../../customXml/item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Workload Analysis and Optimization</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13</a:t>
            </a:r>
          </a:p>
        </p:txBody>
      </p:sp>
      <p:sp>
        <p:nvSpPr>
          <p:cNvPr id="8" name="Picture Placeholder 7">
            <a:extLst>
              <a:ext uri="{FF2B5EF4-FFF2-40B4-BE49-F238E27FC236}">
                <a16:creationId xmlns:a16="http://schemas.microsoft.com/office/drawing/2014/main" id="{EDC67D45-694A-4356-BDA3-30BA960758EC}"/>
              </a:ext>
            </a:extLst>
          </p:cNvPr>
          <p:cNvSpPr>
            <a:spLocks noGrp="1"/>
          </p:cNvSpPr>
          <p:nvPr>
            <p:ph type="pic" sz="quarter" idx="17"/>
          </p:nvPr>
        </p:nvSpPr>
        <p:spPr/>
      </p:sp>
      <p:pic>
        <p:nvPicPr>
          <p:cNvPr id="9" name="Picture Placeholder 1">
            <a:extLst>
              <a:ext uri="{FF2B5EF4-FFF2-40B4-BE49-F238E27FC236}">
                <a16:creationId xmlns:a16="http://schemas.microsoft.com/office/drawing/2014/main" id="{D3DB6F98-EBE9-485D-9539-880565BAC9EC}"/>
              </a:ext>
            </a:extLst>
          </p:cNvPr>
          <p:cNvPicPr>
            <a:picLocks noChangeAspect="1"/>
          </p:cNvPicPr>
          <p:nvPr/>
        </p:nvPicPr>
        <p:blipFill rotWithShape="1">
          <a:blip r:embed="rId3"/>
          <a:srcRect t="11" b="11"/>
          <a:stretch/>
        </p:blipFill>
        <p:spPr>
          <a:xfrm>
            <a:off x="8092552" y="2651542"/>
            <a:ext cx="1691679" cy="1691439"/>
          </a:xfrm>
          <a:prstGeom prst="rect">
            <a:avLst/>
          </a:prstGeom>
          <a:solidFill>
            <a:srgbClr val="243A5E"/>
          </a:solidFill>
        </p:spPr>
      </p:pic>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2: Azure Log Analytics for Synapse</a:t>
            </a:r>
          </a:p>
        </p:txBody>
      </p:sp>
    </p:spTree>
    <p:extLst>
      <p:ext uri="{BB962C8B-B14F-4D97-AF65-F5344CB8AC3E}">
        <p14:creationId xmlns:p14="http://schemas.microsoft.com/office/powerpoint/2010/main" val="3388194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Basics of Log Analytics</a:t>
            </a:r>
          </a:p>
          <a:p>
            <a:pPr lvl="1"/>
            <a:r>
              <a:rPr lang="en-US" dirty="0"/>
              <a:t>Kusto Querying (KQL) basics</a:t>
            </a:r>
          </a:p>
          <a:p>
            <a:pPr lvl="1"/>
            <a:r>
              <a:rPr lang="en-US" dirty="0"/>
              <a:t>Chart Visualizations</a:t>
            </a:r>
          </a:p>
          <a:p>
            <a:pPr lvl="1"/>
            <a:r>
              <a:rPr lang="en-US" dirty="0"/>
              <a:t>Alerts</a:t>
            </a:r>
          </a:p>
          <a:p>
            <a:pPr lvl="1"/>
            <a:endParaRPr lang="en-US" dirty="0"/>
          </a:p>
          <a:p>
            <a:pPr lvl="1"/>
            <a:endParaRPr lang="en-US" dirty="0"/>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944072058"/>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27040-2F16-4123-9B16-7F6A922FDDF7}"/>
              </a:ext>
            </a:extLst>
          </p:cNvPr>
          <p:cNvSpPr>
            <a:spLocks noGrp="1"/>
          </p:cNvSpPr>
          <p:nvPr>
            <p:ph type="title"/>
          </p:nvPr>
        </p:nvSpPr>
        <p:spPr/>
        <p:txBody>
          <a:bodyPr/>
          <a:lstStyle/>
          <a:p>
            <a:r>
              <a:rPr lang="en-US" dirty="0"/>
              <a:t>What is Log Analytics?</a:t>
            </a:r>
          </a:p>
        </p:txBody>
      </p:sp>
      <p:graphicFrame>
        <p:nvGraphicFramePr>
          <p:cNvPr id="5" name="Content Placeholder 4">
            <a:extLst>
              <a:ext uri="{FF2B5EF4-FFF2-40B4-BE49-F238E27FC236}">
                <a16:creationId xmlns:a16="http://schemas.microsoft.com/office/drawing/2014/main" id="{73E9F459-CD70-4910-8205-325B062EC167}"/>
              </a:ext>
            </a:extLst>
          </p:cNvPr>
          <p:cNvGraphicFramePr>
            <a:graphicFrameLocks noGrp="1"/>
          </p:cNvGraphicFramePr>
          <p:nvPr>
            <p:ph sz="quarter" idx="13"/>
            <p:extLst>
              <p:ext uri="{D42A27DB-BD31-4B8C-83A1-F6EECF244321}">
                <p14:modId xmlns:p14="http://schemas.microsoft.com/office/powerpoint/2010/main" val="2618775735"/>
              </p:ext>
            </p:extLst>
          </p:nvPr>
        </p:nvGraphicFramePr>
        <p:xfrm>
          <a:off x="668785" y="2301342"/>
          <a:ext cx="11098907" cy="40504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4A693B41-B1F3-482B-9BE0-6F6AE1E79E0A}"/>
              </a:ext>
            </a:extLst>
          </p:cNvPr>
          <p:cNvSpPr txBox="1"/>
          <p:nvPr/>
        </p:nvSpPr>
        <p:spPr>
          <a:xfrm>
            <a:off x="595281" y="1159877"/>
            <a:ext cx="11172411" cy="1292662"/>
          </a:xfrm>
          <a:prstGeom prst="rect">
            <a:avLst/>
          </a:prstGeom>
          <a:noFill/>
        </p:spPr>
        <p:txBody>
          <a:bodyPr wrap="square" lIns="0" tIns="0" rIns="0" bIns="0" rtlCol="0">
            <a:spAutoFit/>
          </a:bodyPr>
          <a:lstStyle/>
          <a:p>
            <a:r>
              <a:rPr lang="en-US" sz="3200" i="1" dirty="0"/>
              <a:t>“Log Analytics is the primary tool in the Azure portal for writing log queries and interactively analyzing their results.”</a:t>
            </a:r>
          </a:p>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073136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13612-9098-42A9-8D5C-2B4448BAB74E}"/>
              </a:ext>
            </a:extLst>
          </p:cNvPr>
          <p:cNvSpPr>
            <a:spLocks noGrp="1"/>
          </p:cNvSpPr>
          <p:nvPr>
            <p:ph type="title"/>
          </p:nvPr>
        </p:nvSpPr>
        <p:spPr/>
        <p:txBody>
          <a:bodyPr/>
          <a:lstStyle/>
          <a:p>
            <a:r>
              <a:rPr lang="en-US" dirty="0"/>
              <a:t>Enabling Log Analytics for Synapse</a:t>
            </a:r>
          </a:p>
        </p:txBody>
      </p:sp>
      <p:graphicFrame>
        <p:nvGraphicFramePr>
          <p:cNvPr id="4" name="Content Placeholder 3">
            <a:extLst>
              <a:ext uri="{FF2B5EF4-FFF2-40B4-BE49-F238E27FC236}">
                <a16:creationId xmlns:a16="http://schemas.microsoft.com/office/drawing/2014/main" id="{50C4829B-01D7-42BB-B62E-9C7101A9F7A8}"/>
              </a:ext>
            </a:extLst>
          </p:cNvPr>
          <p:cNvGraphicFramePr>
            <a:graphicFrameLocks noGrp="1"/>
          </p:cNvGraphicFramePr>
          <p:nvPr>
            <p:ph sz="quarter" idx="13"/>
            <p:extLst>
              <p:ext uri="{D42A27DB-BD31-4B8C-83A1-F6EECF244321}">
                <p14:modId xmlns:p14="http://schemas.microsoft.com/office/powerpoint/2010/main" val="1121405532"/>
              </p:ext>
            </p:extLst>
          </p:nvPr>
        </p:nvGraphicFramePr>
        <p:xfrm>
          <a:off x="668785" y="1014608"/>
          <a:ext cx="11098907" cy="30418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94D7E65A-AFB7-4C71-B472-56A2BAF0B12B}"/>
              </a:ext>
            </a:extLst>
          </p:cNvPr>
          <p:cNvGraphicFramePr/>
          <p:nvPr>
            <p:extLst>
              <p:ext uri="{D42A27DB-BD31-4B8C-83A1-F6EECF244321}">
                <p14:modId xmlns:p14="http://schemas.microsoft.com/office/powerpoint/2010/main" val="14865809"/>
              </p:ext>
            </p:extLst>
          </p:nvPr>
        </p:nvGraphicFramePr>
        <p:xfrm>
          <a:off x="4283563" y="3927625"/>
          <a:ext cx="4547454" cy="23749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a:extLst>
              <a:ext uri="{FF2B5EF4-FFF2-40B4-BE49-F238E27FC236}">
                <a16:creationId xmlns:a16="http://schemas.microsoft.com/office/drawing/2014/main" id="{3063196A-0495-4AFF-990E-E2BA7AAB0D4F}"/>
              </a:ext>
            </a:extLst>
          </p:cNvPr>
          <p:cNvGraphicFramePr/>
          <p:nvPr>
            <p:extLst>
              <p:ext uri="{D42A27DB-BD31-4B8C-83A1-F6EECF244321}">
                <p14:modId xmlns:p14="http://schemas.microsoft.com/office/powerpoint/2010/main" val="2489848521"/>
              </p:ext>
            </p:extLst>
          </p:nvPr>
        </p:nvGraphicFramePr>
        <p:xfrm>
          <a:off x="7824562" y="3927626"/>
          <a:ext cx="4565864" cy="237498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160236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DE99F-5F62-4D0F-B37A-522AD88403D0}"/>
              </a:ext>
            </a:extLst>
          </p:cNvPr>
          <p:cNvSpPr>
            <a:spLocks noGrp="1"/>
          </p:cNvSpPr>
          <p:nvPr>
            <p:ph type="title"/>
          </p:nvPr>
        </p:nvSpPr>
        <p:spPr/>
        <p:txBody>
          <a:bodyPr/>
          <a:lstStyle/>
          <a:p>
            <a:r>
              <a:rPr lang="en-US" dirty="0"/>
              <a:t>Hands-on: KQL queries against Log Analytics</a:t>
            </a:r>
          </a:p>
        </p:txBody>
      </p:sp>
    </p:spTree>
    <p:extLst>
      <p:ext uri="{BB962C8B-B14F-4D97-AF65-F5344CB8AC3E}">
        <p14:creationId xmlns:p14="http://schemas.microsoft.com/office/powerpoint/2010/main" val="1418283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3: Build an Azure Dashboard to monitor Synapse</a:t>
            </a:r>
          </a:p>
        </p:txBody>
      </p:sp>
    </p:spTree>
    <p:extLst>
      <p:ext uri="{BB962C8B-B14F-4D97-AF65-F5344CB8AC3E}">
        <p14:creationId xmlns:p14="http://schemas.microsoft.com/office/powerpoint/2010/main" val="14128668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endParaRPr lang="en-US" dirty="0"/>
          </a:p>
          <a:p>
            <a:pPr lvl="1"/>
            <a:endParaRPr lang="en-US" dirty="0"/>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2734733076"/>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49135-7048-4A65-990F-904A0BB21048}"/>
              </a:ext>
            </a:extLst>
          </p:cNvPr>
          <p:cNvSpPr>
            <a:spLocks noGrp="1"/>
          </p:cNvSpPr>
          <p:nvPr>
            <p:ph type="title"/>
          </p:nvPr>
        </p:nvSpPr>
        <p:spPr/>
        <p:txBody>
          <a:bodyPr/>
          <a:lstStyle/>
          <a:p>
            <a:r>
              <a:rPr lang="en-US" dirty="0"/>
              <a:t>Azure Dashboards</a:t>
            </a:r>
          </a:p>
        </p:txBody>
      </p:sp>
      <p:graphicFrame>
        <p:nvGraphicFramePr>
          <p:cNvPr id="4" name="Content Placeholder 3">
            <a:extLst>
              <a:ext uri="{FF2B5EF4-FFF2-40B4-BE49-F238E27FC236}">
                <a16:creationId xmlns:a16="http://schemas.microsoft.com/office/drawing/2014/main" id="{9A8EABDB-C08A-4C57-B563-2CF070D3680E}"/>
              </a:ext>
            </a:extLst>
          </p:cNvPr>
          <p:cNvGraphicFramePr>
            <a:graphicFrameLocks noGrp="1"/>
          </p:cNvGraphicFramePr>
          <p:nvPr>
            <p:ph sz="quarter" idx="13"/>
            <p:extLst>
              <p:ext uri="{D42A27DB-BD31-4B8C-83A1-F6EECF244321}">
                <p14:modId xmlns:p14="http://schemas.microsoft.com/office/powerpoint/2010/main" val="2357740266"/>
              </p:ext>
            </p:extLst>
          </p:nvPr>
        </p:nvGraphicFramePr>
        <p:xfrm>
          <a:off x="668785" y="1104644"/>
          <a:ext cx="11098907" cy="52470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766317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DE99F-5F62-4D0F-B37A-522AD88403D0}"/>
              </a:ext>
            </a:extLst>
          </p:cNvPr>
          <p:cNvSpPr>
            <a:spLocks noGrp="1"/>
          </p:cNvSpPr>
          <p:nvPr>
            <p:ph type="title"/>
          </p:nvPr>
        </p:nvSpPr>
        <p:spPr/>
        <p:txBody>
          <a:bodyPr/>
          <a:lstStyle/>
          <a:p>
            <a:r>
              <a:rPr lang="en-US" dirty="0"/>
              <a:t>Hands-on: Build and Azure Dashboard to monitor Synapse</a:t>
            </a:r>
          </a:p>
        </p:txBody>
      </p:sp>
    </p:spTree>
    <p:extLst>
      <p:ext uri="{BB962C8B-B14F-4D97-AF65-F5344CB8AC3E}">
        <p14:creationId xmlns:p14="http://schemas.microsoft.com/office/powerpoint/2010/main" val="3803021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4: Identify workload issues</a:t>
            </a:r>
          </a:p>
        </p:txBody>
      </p:sp>
    </p:spTree>
    <p:extLst>
      <p:ext uri="{BB962C8B-B14F-4D97-AF65-F5344CB8AC3E}">
        <p14:creationId xmlns:p14="http://schemas.microsoft.com/office/powerpoint/2010/main" val="37381647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109151" y="642785"/>
            <a:ext cx="7093291" cy="5708957"/>
          </a:xfrm>
        </p:spPr>
        <p:txBody>
          <a:bodyPr/>
          <a:lstStyle/>
          <a:p>
            <a:r>
              <a:rPr lang="en-US" dirty="0"/>
              <a:t>Lesson 1: Azure Metrics for Synapse</a:t>
            </a:r>
          </a:p>
          <a:p>
            <a:r>
              <a:rPr lang="en-US" dirty="0"/>
              <a:t>Lesson 2: Azure Log Analytics for Synapse</a:t>
            </a:r>
          </a:p>
          <a:p>
            <a:r>
              <a:rPr lang="en-US" dirty="0"/>
              <a:t>Lesson 3: Build an Azure Dashboard to Monitor Synapse</a:t>
            </a:r>
          </a:p>
          <a:p>
            <a:r>
              <a:rPr lang="en-US" dirty="0"/>
              <a:t>Lesson 4: Identify workload issues</a:t>
            </a:r>
          </a:p>
          <a:p>
            <a:r>
              <a:rPr lang="en-US" dirty="0"/>
              <a:t>Lesson 5: Evaluate Service-Level-Objective</a:t>
            </a:r>
          </a:p>
          <a:p>
            <a:endParaRPr lang="en-US" dirty="0"/>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What issues to look for using Azure Dashboards dashboards</a:t>
            </a:r>
          </a:p>
          <a:p>
            <a:pPr lvl="1"/>
            <a:r>
              <a:rPr lang="en-US" dirty="0"/>
              <a:t>How to identify issues in Azure Dashboards</a:t>
            </a:r>
          </a:p>
          <a:p>
            <a:pPr lvl="1"/>
            <a:r>
              <a:rPr lang="en-US" dirty="0"/>
              <a:t>How to address some common workload issues</a:t>
            </a:r>
          </a:p>
          <a:p>
            <a:pPr lvl="1"/>
            <a:endParaRPr lang="en-US" dirty="0"/>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1371060398"/>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49135-7048-4A65-990F-904A0BB21048}"/>
              </a:ext>
            </a:extLst>
          </p:cNvPr>
          <p:cNvSpPr>
            <a:spLocks noGrp="1"/>
          </p:cNvSpPr>
          <p:nvPr>
            <p:ph type="title"/>
          </p:nvPr>
        </p:nvSpPr>
        <p:spPr/>
        <p:txBody>
          <a:bodyPr/>
          <a:lstStyle/>
          <a:p>
            <a:r>
              <a:rPr lang="en-US" dirty="0"/>
              <a:t>Common Workload Issues</a:t>
            </a:r>
          </a:p>
        </p:txBody>
      </p:sp>
      <p:graphicFrame>
        <p:nvGraphicFramePr>
          <p:cNvPr id="5" name="Content Placeholder 4">
            <a:extLst>
              <a:ext uri="{FF2B5EF4-FFF2-40B4-BE49-F238E27FC236}">
                <a16:creationId xmlns:a16="http://schemas.microsoft.com/office/drawing/2014/main" id="{790E3ADE-7EC5-490D-99B2-0DAB7F5B945E}"/>
              </a:ext>
            </a:extLst>
          </p:cNvPr>
          <p:cNvGraphicFramePr>
            <a:graphicFrameLocks noGrp="1"/>
          </p:cNvGraphicFramePr>
          <p:nvPr>
            <p:ph sz="quarter" idx="13"/>
            <p:extLst>
              <p:ext uri="{D42A27DB-BD31-4B8C-83A1-F6EECF244321}">
                <p14:modId xmlns:p14="http://schemas.microsoft.com/office/powerpoint/2010/main" val="1561686058"/>
              </p:ext>
            </p:extLst>
          </p:nvPr>
        </p:nvGraphicFramePr>
        <p:xfrm>
          <a:off x="607415" y="1258176"/>
          <a:ext cx="11098907" cy="4915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960585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DE99F-5F62-4D0F-B37A-522AD88403D0}"/>
              </a:ext>
            </a:extLst>
          </p:cNvPr>
          <p:cNvSpPr>
            <a:spLocks noGrp="1"/>
          </p:cNvSpPr>
          <p:nvPr>
            <p:ph type="title"/>
          </p:nvPr>
        </p:nvSpPr>
        <p:spPr/>
        <p:txBody>
          <a:bodyPr/>
          <a:lstStyle/>
          <a:p>
            <a:r>
              <a:rPr lang="en-US" dirty="0"/>
              <a:t>Hands-on : Identify Workload Issues </a:t>
            </a:r>
          </a:p>
        </p:txBody>
      </p:sp>
    </p:spTree>
    <p:extLst>
      <p:ext uri="{BB962C8B-B14F-4D97-AF65-F5344CB8AC3E}">
        <p14:creationId xmlns:p14="http://schemas.microsoft.com/office/powerpoint/2010/main" val="29361418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5: Evaluate Service-Level-Objective</a:t>
            </a:r>
          </a:p>
        </p:txBody>
      </p:sp>
    </p:spTree>
    <p:extLst>
      <p:ext uri="{BB962C8B-B14F-4D97-AF65-F5344CB8AC3E}">
        <p14:creationId xmlns:p14="http://schemas.microsoft.com/office/powerpoint/2010/main" val="37444698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How to evaluate if your workload is running on the proper SLO</a:t>
            </a:r>
          </a:p>
          <a:p>
            <a:pPr lvl="1"/>
            <a:endParaRPr lang="en-US" dirty="0"/>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1366279133"/>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49135-7048-4A65-990F-904A0BB21048}"/>
              </a:ext>
            </a:extLst>
          </p:cNvPr>
          <p:cNvSpPr>
            <a:spLocks noGrp="1"/>
          </p:cNvSpPr>
          <p:nvPr>
            <p:ph type="title"/>
          </p:nvPr>
        </p:nvSpPr>
        <p:spPr/>
        <p:txBody>
          <a:bodyPr/>
          <a:lstStyle/>
          <a:p>
            <a:r>
              <a:rPr lang="en-US" dirty="0"/>
              <a:t>Evaluation Criteria</a:t>
            </a:r>
          </a:p>
        </p:txBody>
      </p:sp>
      <p:graphicFrame>
        <p:nvGraphicFramePr>
          <p:cNvPr id="4" name="Content Placeholder 3">
            <a:extLst>
              <a:ext uri="{FF2B5EF4-FFF2-40B4-BE49-F238E27FC236}">
                <a16:creationId xmlns:a16="http://schemas.microsoft.com/office/drawing/2014/main" id="{F02C98C2-A838-4FA3-BE33-FE2A65693FCA}"/>
              </a:ext>
            </a:extLst>
          </p:cNvPr>
          <p:cNvGraphicFramePr>
            <a:graphicFrameLocks noGrp="1"/>
          </p:cNvGraphicFramePr>
          <p:nvPr>
            <p:ph sz="quarter" idx="13"/>
            <p:extLst>
              <p:ext uri="{D42A27DB-BD31-4B8C-83A1-F6EECF244321}">
                <p14:modId xmlns:p14="http://schemas.microsoft.com/office/powerpoint/2010/main" val="785053162"/>
              </p:ext>
            </p:extLst>
          </p:nvPr>
        </p:nvGraphicFramePr>
        <p:xfrm>
          <a:off x="668785" y="1436146"/>
          <a:ext cx="11098907" cy="4915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567134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D40D7-6DE1-4946-9D65-A60DB08ED7B9}"/>
              </a:ext>
            </a:extLst>
          </p:cNvPr>
          <p:cNvSpPr>
            <a:spLocks noGrp="1"/>
          </p:cNvSpPr>
          <p:nvPr>
            <p:ph type="title"/>
          </p:nvPr>
        </p:nvSpPr>
        <p:spPr/>
        <p:txBody>
          <a:bodyPr/>
          <a:lstStyle/>
          <a:p>
            <a:r>
              <a:rPr lang="en-US" dirty="0"/>
              <a:t>Impact of Scaling up</a:t>
            </a:r>
          </a:p>
        </p:txBody>
      </p:sp>
      <p:graphicFrame>
        <p:nvGraphicFramePr>
          <p:cNvPr id="4" name="Content Placeholder 3">
            <a:extLst>
              <a:ext uri="{FF2B5EF4-FFF2-40B4-BE49-F238E27FC236}">
                <a16:creationId xmlns:a16="http://schemas.microsoft.com/office/drawing/2014/main" id="{7CE426AB-E816-45EE-9538-ACA6C0F0753C}"/>
              </a:ext>
            </a:extLst>
          </p:cNvPr>
          <p:cNvGraphicFramePr>
            <a:graphicFrameLocks noGrp="1"/>
          </p:cNvGraphicFramePr>
          <p:nvPr>
            <p:ph sz="quarter" idx="13"/>
            <p:extLst>
              <p:ext uri="{D42A27DB-BD31-4B8C-83A1-F6EECF244321}">
                <p14:modId xmlns:p14="http://schemas.microsoft.com/office/powerpoint/2010/main" val="938782309"/>
              </p:ext>
            </p:extLst>
          </p:nvPr>
        </p:nvGraphicFramePr>
        <p:xfrm>
          <a:off x="668785" y="1436146"/>
          <a:ext cx="11098907"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165068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DE99F-5F62-4D0F-B37A-522AD88403D0}"/>
              </a:ext>
            </a:extLst>
          </p:cNvPr>
          <p:cNvSpPr>
            <a:spLocks noGrp="1"/>
          </p:cNvSpPr>
          <p:nvPr>
            <p:ph type="title"/>
          </p:nvPr>
        </p:nvSpPr>
        <p:spPr/>
        <p:txBody>
          <a:bodyPr/>
          <a:lstStyle/>
          <a:p>
            <a:r>
              <a:rPr lang="en-US" dirty="0"/>
              <a:t>Hands-on: Evaluate Current SLO</a:t>
            </a:r>
          </a:p>
        </p:txBody>
      </p:sp>
    </p:spTree>
    <p:extLst>
      <p:ext uri="{BB962C8B-B14F-4D97-AF65-F5344CB8AC3E}">
        <p14:creationId xmlns:p14="http://schemas.microsoft.com/office/powerpoint/2010/main" val="26759534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 – Workload analysis and Optimization</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2212525419"/>
              </p:ext>
            </p:extLst>
          </p:nvPr>
        </p:nvGraphicFramePr>
        <p:xfrm>
          <a:off x="397563" y="797266"/>
          <a:ext cx="3100581" cy="3020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a:extLst>
              <a:ext uri="{FF2B5EF4-FFF2-40B4-BE49-F238E27FC236}">
                <a16:creationId xmlns:a16="http://schemas.microsoft.com/office/drawing/2014/main" id="{351BAAB9-17D4-4F4A-8E62-EF2B5BC74E88}"/>
              </a:ext>
            </a:extLst>
          </p:cNvPr>
          <p:cNvGraphicFramePr/>
          <p:nvPr>
            <p:extLst>
              <p:ext uri="{D42A27DB-BD31-4B8C-83A1-F6EECF244321}">
                <p14:modId xmlns:p14="http://schemas.microsoft.com/office/powerpoint/2010/main" val="1642169336"/>
              </p:ext>
            </p:extLst>
          </p:nvPr>
        </p:nvGraphicFramePr>
        <p:xfrm>
          <a:off x="4531944" y="797266"/>
          <a:ext cx="3100579" cy="3020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2278224162"/>
              </p:ext>
            </p:extLst>
          </p:nvPr>
        </p:nvGraphicFramePr>
        <p:xfrm>
          <a:off x="8666324" y="797266"/>
          <a:ext cx="3100579" cy="302057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9" name="Diagram 28">
            <a:extLst>
              <a:ext uri="{FF2B5EF4-FFF2-40B4-BE49-F238E27FC236}">
                <a16:creationId xmlns:a16="http://schemas.microsoft.com/office/drawing/2014/main" id="{D2A0D0AD-E2A7-4622-9D69-8623A162E560}"/>
              </a:ext>
            </a:extLst>
          </p:cNvPr>
          <p:cNvGraphicFramePr/>
          <p:nvPr>
            <p:extLst>
              <p:ext uri="{D42A27DB-BD31-4B8C-83A1-F6EECF244321}">
                <p14:modId xmlns:p14="http://schemas.microsoft.com/office/powerpoint/2010/main" val="351187385"/>
              </p:ext>
            </p:extLst>
          </p:nvPr>
        </p:nvGraphicFramePr>
        <p:xfrm>
          <a:off x="2578900" y="3647535"/>
          <a:ext cx="3100579" cy="3020578"/>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203843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Graphic spid="18" grpId="0">
        <p:bldAsOne/>
      </p:bldGraphic>
      <p:bldGraphic spid="29" grpId="0">
        <p:bldAsOne/>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48139" y="294677"/>
            <a:ext cx="11887454" cy="471159"/>
          </a:xfrm>
        </p:spPr>
        <p:txBody>
          <a:bodyPr/>
          <a:lstStyle/>
          <a:p>
            <a:r>
              <a:rPr lang="en-US">
                <a:noFill/>
              </a:rPr>
              <a:t>Microsoft</a:t>
            </a:r>
          </a:p>
        </p:txBody>
      </p:sp>
    </p:spTree>
    <p:custDataLst>
      <p:tags r:id="rId1"/>
    </p:custDataLst>
    <p:extLst>
      <p:ext uri="{BB962C8B-B14F-4D97-AF65-F5344CB8AC3E}">
        <p14:creationId xmlns:p14="http://schemas.microsoft.com/office/powerpoint/2010/main" val="683163826"/>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1: Azure Metrics for Synapse</a:t>
            </a:r>
          </a:p>
        </p:txBody>
      </p:sp>
    </p:spTree>
    <p:extLst>
      <p:ext uri="{BB962C8B-B14F-4D97-AF65-F5344CB8AC3E}">
        <p14:creationId xmlns:p14="http://schemas.microsoft.com/office/powerpoint/2010/main" val="4083746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How Azure Metrics works</a:t>
            </a:r>
          </a:p>
          <a:p>
            <a:pPr lvl="1"/>
            <a:r>
              <a:rPr lang="en-US" dirty="0"/>
              <a:t>Available metrics in Azure Synapse</a:t>
            </a:r>
          </a:p>
          <a:p>
            <a:pPr lvl="1"/>
            <a:r>
              <a:rPr lang="en-US" dirty="0"/>
              <a:t>How to build an azure metrics chart</a:t>
            </a:r>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84534-C7BC-442C-82FF-9F8E2CB7420A}"/>
              </a:ext>
            </a:extLst>
          </p:cNvPr>
          <p:cNvSpPr>
            <a:spLocks noGrp="1"/>
          </p:cNvSpPr>
          <p:nvPr>
            <p:ph type="title"/>
          </p:nvPr>
        </p:nvSpPr>
        <p:spPr/>
        <p:txBody>
          <a:bodyPr/>
          <a:lstStyle/>
          <a:p>
            <a:r>
              <a:rPr lang="en-US" dirty="0"/>
              <a:t>What is Azure Metrics</a:t>
            </a:r>
          </a:p>
        </p:txBody>
      </p:sp>
      <p:sp>
        <p:nvSpPr>
          <p:cNvPr id="3" name="Content Placeholder 2">
            <a:extLst>
              <a:ext uri="{FF2B5EF4-FFF2-40B4-BE49-F238E27FC236}">
                <a16:creationId xmlns:a16="http://schemas.microsoft.com/office/drawing/2014/main" id="{B5136E57-1211-44D1-A545-871087491A60}"/>
              </a:ext>
            </a:extLst>
          </p:cNvPr>
          <p:cNvSpPr>
            <a:spLocks noGrp="1"/>
          </p:cNvSpPr>
          <p:nvPr>
            <p:ph sz="quarter" idx="13"/>
          </p:nvPr>
        </p:nvSpPr>
        <p:spPr/>
        <p:txBody>
          <a:bodyPr/>
          <a:lstStyle/>
          <a:p>
            <a:pPr marL="0" indent="0">
              <a:buNone/>
            </a:pPr>
            <a:r>
              <a:rPr lang="en-US" sz="2040" i="1" dirty="0">
                <a:cs typeface="+mn-cs"/>
              </a:rPr>
              <a:t>“Azure Monitor Metrics stores numeric data in a time-series database, which makes this data more lightweight than Azure Monitor Logs and capable of supporting near real-time scenarios making them particularly useful for alerting and fast detection of issues”</a:t>
            </a:r>
          </a:p>
          <a:p>
            <a:pPr marL="0" indent="0">
              <a:buNone/>
            </a:pPr>
            <a:endParaRPr lang="en-US" sz="2040" i="1" dirty="0">
              <a:cs typeface="+mn-cs"/>
            </a:endParaRPr>
          </a:p>
          <a:p>
            <a:r>
              <a:rPr lang="en-US" sz="2040" dirty="0">
                <a:cs typeface="+mn-cs"/>
              </a:rPr>
              <a:t>Low-Latency</a:t>
            </a:r>
          </a:p>
          <a:p>
            <a:r>
              <a:rPr lang="en-US" sz="2040" dirty="0">
                <a:cs typeface="+mn-cs"/>
              </a:rPr>
              <a:t>Retention – 90 days</a:t>
            </a:r>
          </a:p>
          <a:p>
            <a:r>
              <a:rPr lang="en-US" sz="2040" dirty="0">
                <a:cs typeface="+mn-cs"/>
              </a:rPr>
              <a:t>Cost – </a:t>
            </a:r>
            <a:r>
              <a:rPr lang="en-US" sz="2040">
                <a:cs typeface="+mn-cs"/>
              </a:rPr>
              <a:t>Free </a:t>
            </a:r>
            <a:endParaRPr lang="en-US" sz="2040" dirty="0">
              <a:cs typeface="+mn-cs"/>
            </a:endParaRPr>
          </a:p>
        </p:txBody>
      </p:sp>
    </p:spTree>
    <p:extLst>
      <p:ext uri="{BB962C8B-B14F-4D97-AF65-F5344CB8AC3E}">
        <p14:creationId xmlns:p14="http://schemas.microsoft.com/office/powerpoint/2010/main" val="15665555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A9A2E-372A-427F-A0FC-FCB70DC040C4}"/>
              </a:ext>
            </a:extLst>
          </p:cNvPr>
          <p:cNvSpPr>
            <a:spLocks noGrp="1"/>
          </p:cNvSpPr>
          <p:nvPr>
            <p:ph type="title"/>
          </p:nvPr>
        </p:nvSpPr>
        <p:spPr>
          <a:xfrm>
            <a:off x="668784" y="332548"/>
            <a:ext cx="11098906" cy="470856"/>
          </a:xfrm>
        </p:spPr>
        <p:txBody>
          <a:bodyPr/>
          <a:lstStyle/>
          <a:p>
            <a:r>
              <a:rPr lang="en-US" dirty="0"/>
              <a:t>Available metrics for Synapse (1)</a:t>
            </a:r>
          </a:p>
        </p:txBody>
      </p:sp>
      <p:graphicFrame>
        <p:nvGraphicFramePr>
          <p:cNvPr id="4" name="Table 4">
            <a:extLst>
              <a:ext uri="{FF2B5EF4-FFF2-40B4-BE49-F238E27FC236}">
                <a16:creationId xmlns:a16="http://schemas.microsoft.com/office/drawing/2014/main" id="{42309F3A-5265-454C-A601-9575DCC37678}"/>
              </a:ext>
            </a:extLst>
          </p:cNvPr>
          <p:cNvGraphicFramePr>
            <a:graphicFrameLocks noGrp="1"/>
          </p:cNvGraphicFramePr>
          <p:nvPr>
            <p:ph sz="quarter" idx="13"/>
            <p:extLst>
              <p:ext uri="{D42A27DB-BD31-4B8C-83A1-F6EECF244321}">
                <p14:modId xmlns:p14="http://schemas.microsoft.com/office/powerpoint/2010/main" val="3173594270"/>
              </p:ext>
            </p:extLst>
          </p:nvPr>
        </p:nvGraphicFramePr>
        <p:xfrm>
          <a:off x="139490" y="1152395"/>
          <a:ext cx="12157494" cy="5198304"/>
        </p:xfrm>
        <a:graphic>
          <a:graphicData uri="http://schemas.openxmlformats.org/drawingml/2006/table">
            <a:tbl>
              <a:tblPr firstRow="1" bandRow="1">
                <a:tableStyleId>{5C22544A-7EE6-4342-B048-85BDC9FD1C3A}</a:tableStyleId>
              </a:tblPr>
              <a:tblGrid>
                <a:gridCol w="2391777">
                  <a:extLst>
                    <a:ext uri="{9D8B030D-6E8A-4147-A177-3AD203B41FA5}">
                      <a16:colId xmlns:a16="http://schemas.microsoft.com/office/drawing/2014/main" val="187518014"/>
                    </a:ext>
                  </a:extLst>
                </a:gridCol>
                <a:gridCol w="7384769">
                  <a:extLst>
                    <a:ext uri="{9D8B030D-6E8A-4147-A177-3AD203B41FA5}">
                      <a16:colId xmlns:a16="http://schemas.microsoft.com/office/drawing/2014/main" val="1084789005"/>
                    </a:ext>
                  </a:extLst>
                </a:gridCol>
                <a:gridCol w="2380948">
                  <a:extLst>
                    <a:ext uri="{9D8B030D-6E8A-4147-A177-3AD203B41FA5}">
                      <a16:colId xmlns:a16="http://schemas.microsoft.com/office/drawing/2014/main" val="349277571"/>
                    </a:ext>
                  </a:extLst>
                </a:gridCol>
              </a:tblGrid>
              <a:tr h="493270">
                <a:tc>
                  <a:txBody>
                    <a:bodyPr/>
                    <a:lstStyle/>
                    <a:p>
                      <a:pPr algn="l" fontAlgn="t"/>
                      <a:r>
                        <a:rPr lang="en-US" sz="2000" dirty="0">
                          <a:effectLst/>
                        </a:rPr>
                        <a:t>Metric Name</a:t>
                      </a:r>
                    </a:p>
                  </a:txBody>
                  <a:tcPr/>
                </a:tc>
                <a:tc>
                  <a:txBody>
                    <a:bodyPr/>
                    <a:lstStyle/>
                    <a:p>
                      <a:pPr algn="l" fontAlgn="t"/>
                      <a:r>
                        <a:rPr lang="en-US" sz="2000" dirty="0">
                          <a:effectLst/>
                        </a:rPr>
                        <a:t>Description</a:t>
                      </a:r>
                    </a:p>
                  </a:txBody>
                  <a:tcPr/>
                </a:tc>
                <a:tc>
                  <a:txBody>
                    <a:bodyPr/>
                    <a:lstStyle/>
                    <a:p>
                      <a:pPr algn="l" fontAlgn="t"/>
                      <a:r>
                        <a:rPr lang="en-US" sz="2000" dirty="0">
                          <a:effectLst/>
                        </a:rPr>
                        <a:t>Aggregation Type</a:t>
                      </a:r>
                    </a:p>
                  </a:txBody>
                  <a:tcPr/>
                </a:tc>
                <a:extLst>
                  <a:ext uri="{0D108BD9-81ED-4DB2-BD59-A6C34878D82A}">
                    <a16:rowId xmlns:a16="http://schemas.microsoft.com/office/drawing/2014/main" val="3770641703"/>
                  </a:ext>
                </a:extLst>
              </a:tr>
              <a:tr h="493270">
                <a:tc>
                  <a:txBody>
                    <a:bodyPr/>
                    <a:lstStyle/>
                    <a:p>
                      <a:pPr algn="l" fontAlgn="t"/>
                      <a:r>
                        <a:rPr lang="en-US" sz="2000" dirty="0">
                          <a:effectLst/>
                        </a:rPr>
                        <a:t>CPU percentage</a:t>
                      </a:r>
                    </a:p>
                  </a:txBody>
                  <a:tcPr/>
                </a:tc>
                <a:tc>
                  <a:txBody>
                    <a:bodyPr/>
                    <a:lstStyle/>
                    <a:p>
                      <a:pPr algn="l" fontAlgn="t"/>
                      <a:r>
                        <a:rPr lang="en-US" sz="2000" dirty="0">
                          <a:effectLst/>
                        </a:rPr>
                        <a:t>CPU utilization across all nodes for the data warehouse</a:t>
                      </a:r>
                    </a:p>
                  </a:txBody>
                  <a:tcPr/>
                </a:tc>
                <a:tc>
                  <a:txBody>
                    <a:bodyPr/>
                    <a:lstStyle/>
                    <a:p>
                      <a:pPr algn="l" fontAlgn="t"/>
                      <a:r>
                        <a:rPr lang="en-US" sz="2000">
                          <a:effectLst/>
                        </a:rPr>
                        <a:t>Avg, Min, Max</a:t>
                      </a:r>
                    </a:p>
                  </a:txBody>
                  <a:tcPr/>
                </a:tc>
                <a:extLst>
                  <a:ext uri="{0D108BD9-81ED-4DB2-BD59-A6C34878D82A}">
                    <a16:rowId xmlns:a16="http://schemas.microsoft.com/office/drawing/2014/main" val="4062062684"/>
                  </a:ext>
                </a:extLst>
              </a:tr>
              <a:tr h="493270">
                <a:tc>
                  <a:txBody>
                    <a:bodyPr/>
                    <a:lstStyle/>
                    <a:p>
                      <a:pPr algn="l" fontAlgn="t"/>
                      <a:r>
                        <a:rPr lang="en-US" sz="2000" dirty="0">
                          <a:effectLst/>
                        </a:rPr>
                        <a:t>Data IO percentage</a:t>
                      </a:r>
                    </a:p>
                  </a:txBody>
                  <a:tcPr/>
                </a:tc>
                <a:tc>
                  <a:txBody>
                    <a:bodyPr/>
                    <a:lstStyle/>
                    <a:p>
                      <a:pPr algn="l" fontAlgn="t"/>
                      <a:r>
                        <a:rPr lang="en-US" sz="2000" dirty="0">
                          <a:effectLst/>
                        </a:rPr>
                        <a:t>IO Utilization across all nodes for the data warehouse</a:t>
                      </a:r>
                    </a:p>
                  </a:txBody>
                  <a:tcPr/>
                </a:tc>
                <a:tc>
                  <a:txBody>
                    <a:bodyPr/>
                    <a:lstStyle/>
                    <a:p>
                      <a:pPr algn="l" fontAlgn="t"/>
                      <a:r>
                        <a:rPr lang="en-US" sz="2000">
                          <a:effectLst/>
                        </a:rPr>
                        <a:t>Avg, Min, Max</a:t>
                      </a:r>
                    </a:p>
                  </a:txBody>
                  <a:tcPr/>
                </a:tc>
                <a:extLst>
                  <a:ext uri="{0D108BD9-81ED-4DB2-BD59-A6C34878D82A}">
                    <a16:rowId xmlns:a16="http://schemas.microsoft.com/office/drawing/2014/main" val="2238667216"/>
                  </a:ext>
                </a:extLst>
              </a:tr>
              <a:tr h="872707">
                <a:tc>
                  <a:txBody>
                    <a:bodyPr/>
                    <a:lstStyle/>
                    <a:p>
                      <a:pPr algn="l" fontAlgn="t"/>
                      <a:r>
                        <a:rPr lang="en-US" sz="2000">
                          <a:effectLst/>
                        </a:rPr>
                        <a:t>Memory percentage</a:t>
                      </a:r>
                    </a:p>
                  </a:txBody>
                  <a:tcPr/>
                </a:tc>
                <a:tc>
                  <a:txBody>
                    <a:bodyPr/>
                    <a:lstStyle/>
                    <a:p>
                      <a:pPr algn="l" fontAlgn="t"/>
                      <a:r>
                        <a:rPr lang="en-US" sz="2000" dirty="0">
                          <a:effectLst/>
                        </a:rPr>
                        <a:t>Memory utilization (SQL Server) across all nodes for the data warehouse</a:t>
                      </a:r>
                    </a:p>
                  </a:txBody>
                  <a:tcPr/>
                </a:tc>
                <a:tc>
                  <a:txBody>
                    <a:bodyPr/>
                    <a:lstStyle/>
                    <a:p>
                      <a:pPr algn="l" fontAlgn="t"/>
                      <a:r>
                        <a:rPr lang="en-US" sz="2000">
                          <a:effectLst/>
                        </a:rPr>
                        <a:t>Avg, Min, Max</a:t>
                      </a:r>
                    </a:p>
                  </a:txBody>
                  <a:tcPr/>
                </a:tc>
                <a:extLst>
                  <a:ext uri="{0D108BD9-81ED-4DB2-BD59-A6C34878D82A}">
                    <a16:rowId xmlns:a16="http://schemas.microsoft.com/office/drawing/2014/main" val="4002300977"/>
                  </a:ext>
                </a:extLst>
              </a:tr>
              <a:tr h="493270">
                <a:tc>
                  <a:txBody>
                    <a:bodyPr/>
                    <a:lstStyle/>
                    <a:p>
                      <a:pPr algn="l" fontAlgn="t"/>
                      <a:r>
                        <a:rPr lang="en-US" sz="2000" dirty="0">
                          <a:effectLst/>
                        </a:rPr>
                        <a:t>Active Queries</a:t>
                      </a:r>
                    </a:p>
                  </a:txBody>
                  <a:tcPr/>
                </a:tc>
                <a:tc>
                  <a:txBody>
                    <a:bodyPr/>
                    <a:lstStyle/>
                    <a:p>
                      <a:pPr algn="l" fontAlgn="t"/>
                      <a:r>
                        <a:rPr lang="en-US" sz="2000" dirty="0">
                          <a:effectLst/>
                        </a:rPr>
                        <a:t>Number of active queries executing on the system</a:t>
                      </a:r>
                    </a:p>
                  </a:txBody>
                  <a:tcPr/>
                </a:tc>
                <a:tc>
                  <a:txBody>
                    <a:bodyPr/>
                    <a:lstStyle/>
                    <a:p>
                      <a:pPr algn="l" fontAlgn="t"/>
                      <a:r>
                        <a:rPr lang="en-US" sz="2000" dirty="0">
                          <a:effectLst/>
                        </a:rPr>
                        <a:t>Sum</a:t>
                      </a:r>
                    </a:p>
                  </a:txBody>
                  <a:tcPr/>
                </a:tc>
                <a:extLst>
                  <a:ext uri="{0D108BD9-81ED-4DB2-BD59-A6C34878D82A}">
                    <a16:rowId xmlns:a16="http://schemas.microsoft.com/office/drawing/2014/main" val="2260712339"/>
                  </a:ext>
                </a:extLst>
              </a:tr>
              <a:tr h="493270">
                <a:tc>
                  <a:txBody>
                    <a:bodyPr/>
                    <a:lstStyle/>
                    <a:p>
                      <a:pPr algn="l" fontAlgn="t"/>
                      <a:r>
                        <a:rPr lang="en-US" sz="2000">
                          <a:effectLst/>
                        </a:rPr>
                        <a:t>Queued Queries</a:t>
                      </a:r>
                    </a:p>
                  </a:txBody>
                  <a:tcPr/>
                </a:tc>
                <a:tc>
                  <a:txBody>
                    <a:bodyPr/>
                    <a:lstStyle/>
                    <a:p>
                      <a:pPr algn="l" fontAlgn="t"/>
                      <a:r>
                        <a:rPr lang="en-US" sz="2000">
                          <a:effectLst/>
                        </a:rPr>
                        <a:t>Number of queued queries waiting to start executing</a:t>
                      </a:r>
                    </a:p>
                  </a:txBody>
                  <a:tcPr/>
                </a:tc>
                <a:tc>
                  <a:txBody>
                    <a:bodyPr/>
                    <a:lstStyle/>
                    <a:p>
                      <a:pPr algn="l" fontAlgn="t"/>
                      <a:r>
                        <a:rPr lang="en-US" sz="2000" dirty="0">
                          <a:effectLst/>
                        </a:rPr>
                        <a:t>Sum</a:t>
                      </a:r>
                    </a:p>
                  </a:txBody>
                  <a:tcPr/>
                </a:tc>
                <a:extLst>
                  <a:ext uri="{0D108BD9-81ED-4DB2-BD59-A6C34878D82A}">
                    <a16:rowId xmlns:a16="http://schemas.microsoft.com/office/drawing/2014/main" val="3984731306"/>
                  </a:ext>
                </a:extLst>
              </a:tr>
              <a:tr h="872707">
                <a:tc>
                  <a:txBody>
                    <a:bodyPr/>
                    <a:lstStyle/>
                    <a:p>
                      <a:pPr algn="l" fontAlgn="t"/>
                      <a:r>
                        <a:rPr lang="en-US" sz="2000">
                          <a:effectLst/>
                        </a:rPr>
                        <a:t>Successful Connections</a:t>
                      </a:r>
                    </a:p>
                  </a:txBody>
                  <a:tcPr/>
                </a:tc>
                <a:tc>
                  <a:txBody>
                    <a:bodyPr/>
                    <a:lstStyle/>
                    <a:p>
                      <a:pPr algn="l" fontAlgn="t"/>
                      <a:r>
                        <a:rPr lang="en-US" sz="2000">
                          <a:effectLst/>
                        </a:rPr>
                        <a:t>Number of successful connections (logins) against the database</a:t>
                      </a:r>
                    </a:p>
                  </a:txBody>
                  <a:tcPr/>
                </a:tc>
                <a:tc>
                  <a:txBody>
                    <a:bodyPr/>
                    <a:lstStyle/>
                    <a:p>
                      <a:pPr algn="l" fontAlgn="t"/>
                      <a:r>
                        <a:rPr lang="en-US" sz="2000" dirty="0">
                          <a:effectLst/>
                        </a:rPr>
                        <a:t>Sum, Count</a:t>
                      </a:r>
                    </a:p>
                  </a:txBody>
                  <a:tcPr/>
                </a:tc>
                <a:extLst>
                  <a:ext uri="{0D108BD9-81ED-4DB2-BD59-A6C34878D82A}">
                    <a16:rowId xmlns:a16="http://schemas.microsoft.com/office/drawing/2014/main" val="3071456037"/>
                  </a:ext>
                </a:extLst>
              </a:tr>
              <a:tr h="493270">
                <a:tc>
                  <a:txBody>
                    <a:bodyPr/>
                    <a:lstStyle/>
                    <a:p>
                      <a:pPr algn="l" fontAlgn="t"/>
                      <a:r>
                        <a:rPr lang="en-US" sz="2000">
                          <a:effectLst/>
                        </a:rPr>
                        <a:t>Failed Connections</a:t>
                      </a:r>
                    </a:p>
                  </a:txBody>
                  <a:tcPr/>
                </a:tc>
                <a:tc>
                  <a:txBody>
                    <a:bodyPr/>
                    <a:lstStyle/>
                    <a:p>
                      <a:pPr algn="l" fontAlgn="t"/>
                      <a:r>
                        <a:rPr lang="en-US" sz="2000">
                          <a:effectLst/>
                        </a:rPr>
                        <a:t>Number of failed connections (logins) against the database</a:t>
                      </a:r>
                    </a:p>
                  </a:txBody>
                  <a:tcPr/>
                </a:tc>
                <a:tc>
                  <a:txBody>
                    <a:bodyPr/>
                    <a:lstStyle/>
                    <a:p>
                      <a:pPr algn="l" fontAlgn="t"/>
                      <a:r>
                        <a:rPr lang="en-US" sz="2000" dirty="0">
                          <a:effectLst/>
                        </a:rPr>
                        <a:t>Sum, Count</a:t>
                      </a:r>
                    </a:p>
                  </a:txBody>
                  <a:tcPr/>
                </a:tc>
                <a:extLst>
                  <a:ext uri="{0D108BD9-81ED-4DB2-BD59-A6C34878D82A}">
                    <a16:rowId xmlns:a16="http://schemas.microsoft.com/office/drawing/2014/main" val="2514427629"/>
                  </a:ext>
                </a:extLst>
              </a:tr>
              <a:tr h="493270">
                <a:tc>
                  <a:txBody>
                    <a:bodyPr/>
                    <a:lstStyle/>
                    <a:p>
                      <a:pPr algn="l" fontAlgn="t"/>
                      <a:r>
                        <a:rPr lang="en-US" sz="2000">
                          <a:effectLst/>
                        </a:rPr>
                        <a:t>Blocked by Firewall</a:t>
                      </a:r>
                    </a:p>
                  </a:txBody>
                  <a:tcPr/>
                </a:tc>
                <a:tc>
                  <a:txBody>
                    <a:bodyPr/>
                    <a:lstStyle/>
                    <a:p>
                      <a:pPr algn="l" fontAlgn="t"/>
                      <a:r>
                        <a:rPr lang="en-US" sz="2000" dirty="0">
                          <a:effectLst/>
                        </a:rPr>
                        <a:t>Number of logins to the data warehouse which was blocked</a:t>
                      </a:r>
                    </a:p>
                  </a:txBody>
                  <a:tcPr/>
                </a:tc>
                <a:tc>
                  <a:txBody>
                    <a:bodyPr/>
                    <a:lstStyle/>
                    <a:p>
                      <a:pPr algn="l" fontAlgn="t"/>
                      <a:r>
                        <a:rPr lang="en-US" sz="2000" dirty="0">
                          <a:effectLst/>
                        </a:rPr>
                        <a:t>Sum, Count</a:t>
                      </a:r>
                    </a:p>
                  </a:txBody>
                  <a:tcPr/>
                </a:tc>
                <a:extLst>
                  <a:ext uri="{0D108BD9-81ED-4DB2-BD59-A6C34878D82A}">
                    <a16:rowId xmlns:a16="http://schemas.microsoft.com/office/drawing/2014/main" val="402956983"/>
                  </a:ext>
                </a:extLst>
              </a:tr>
            </a:tbl>
          </a:graphicData>
        </a:graphic>
      </p:graphicFrame>
    </p:spTree>
    <p:extLst>
      <p:ext uri="{BB962C8B-B14F-4D97-AF65-F5344CB8AC3E}">
        <p14:creationId xmlns:p14="http://schemas.microsoft.com/office/powerpoint/2010/main" val="16951214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A9A2E-372A-427F-A0FC-FCB70DC040C4}"/>
              </a:ext>
            </a:extLst>
          </p:cNvPr>
          <p:cNvSpPr>
            <a:spLocks noGrp="1"/>
          </p:cNvSpPr>
          <p:nvPr>
            <p:ph type="title"/>
          </p:nvPr>
        </p:nvSpPr>
        <p:spPr/>
        <p:txBody>
          <a:bodyPr/>
          <a:lstStyle/>
          <a:p>
            <a:r>
              <a:rPr lang="en-US" dirty="0"/>
              <a:t>Available metrics for Synapse (2)</a:t>
            </a:r>
          </a:p>
        </p:txBody>
      </p:sp>
      <p:graphicFrame>
        <p:nvGraphicFramePr>
          <p:cNvPr id="4" name="Table 4">
            <a:extLst>
              <a:ext uri="{FF2B5EF4-FFF2-40B4-BE49-F238E27FC236}">
                <a16:creationId xmlns:a16="http://schemas.microsoft.com/office/drawing/2014/main" id="{42309F3A-5265-454C-A601-9575DCC37678}"/>
              </a:ext>
            </a:extLst>
          </p:cNvPr>
          <p:cNvGraphicFramePr>
            <a:graphicFrameLocks noGrp="1"/>
          </p:cNvGraphicFramePr>
          <p:nvPr>
            <p:ph sz="quarter" idx="13"/>
            <p:extLst>
              <p:ext uri="{D42A27DB-BD31-4B8C-83A1-F6EECF244321}">
                <p14:modId xmlns:p14="http://schemas.microsoft.com/office/powerpoint/2010/main" val="621469792"/>
              </p:ext>
            </p:extLst>
          </p:nvPr>
        </p:nvGraphicFramePr>
        <p:xfrm>
          <a:off x="131493" y="1211518"/>
          <a:ext cx="12173487" cy="4907280"/>
        </p:xfrm>
        <a:graphic>
          <a:graphicData uri="http://schemas.openxmlformats.org/drawingml/2006/table">
            <a:tbl>
              <a:tblPr firstRow="1" bandRow="1">
                <a:tableStyleId>{5C22544A-7EE6-4342-B048-85BDC9FD1C3A}</a:tableStyleId>
              </a:tblPr>
              <a:tblGrid>
                <a:gridCol w="2394924">
                  <a:extLst>
                    <a:ext uri="{9D8B030D-6E8A-4147-A177-3AD203B41FA5}">
                      <a16:colId xmlns:a16="http://schemas.microsoft.com/office/drawing/2014/main" val="187518014"/>
                    </a:ext>
                  </a:extLst>
                </a:gridCol>
                <a:gridCol w="7379030">
                  <a:extLst>
                    <a:ext uri="{9D8B030D-6E8A-4147-A177-3AD203B41FA5}">
                      <a16:colId xmlns:a16="http://schemas.microsoft.com/office/drawing/2014/main" val="1084789005"/>
                    </a:ext>
                  </a:extLst>
                </a:gridCol>
                <a:gridCol w="2399533">
                  <a:extLst>
                    <a:ext uri="{9D8B030D-6E8A-4147-A177-3AD203B41FA5}">
                      <a16:colId xmlns:a16="http://schemas.microsoft.com/office/drawing/2014/main" val="349277571"/>
                    </a:ext>
                  </a:extLst>
                </a:gridCol>
              </a:tblGrid>
              <a:tr h="370840">
                <a:tc>
                  <a:txBody>
                    <a:bodyPr/>
                    <a:lstStyle/>
                    <a:p>
                      <a:pPr algn="l" fontAlgn="t"/>
                      <a:r>
                        <a:rPr lang="en-US" sz="2000" dirty="0">
                          <a:effectLst/>
                        </a:rPr>
                        <a:t>Metric Name</a:t>
                      </a:r>
                    </a:p>
                  </a:txBody>
                  <a:tcPr/>
                </a:tc>
                <a:tc>
                  <a:txBody>
                    <a:bodyPr/>
                    <a:lstStyle/>
                    <a:p>
                      <a:pPr algn="l" fontAlgn="t"/>
                      <a:r>
                        <a:rPr lang="en-US" sz="2000" dirty="0">
                          <a:effectLst/>
                        </a:rPr>
                        <a:t>Description</a:t>
                      </a:r>
                    </a:p>
                  </a:txBody>
                  <a:tcPr/>
                </a:tc>
                <a:tc>
                  <a:txBody>
                    <a:bodyPr/>
                    <a:lstStyle/>
                    <a:p>
                      <a:pPr algn="l" fontAlgn="t"/>
                      <a:r>
                        <a:rPr lang="en-US" sz="2000" dirty="0">
                          <a:effectLst/>
                        </a:rPr>
                        <a:t>Aggregation Type</a:t>
                      </a:r>
                    </a:p>
                  </a:txBody>
                  <a:tcPr/>
                </a:tc>
                <a:extLst>
                  <a:ext uri="{0D108BD9-81ED-4DB2-BD59-A6C34878D82A}">
                    <a16:rowId xmlns:a16="http://schemas.microsoft.com/office/drawing/2014/main" val="3770641703"/>
                  </a:ext>
                </a:extLst>
              </a:tr>
              <a:tr h="370840">
                <a:tc>
                  <a:txBody>
                    <a:bodyPr/>
                    <a:lstStyle/>
                    <a:p>
                      <a:pPr algn="l" fontAlgn="t"/>
                      <a:r>
                        <a:rPr lang="en-US" sz="2000">
                          <a:effectLst/>
                        </a:rPr>
                        <a:t>DWU limit</a:t>
                      </a:r>
                    </a:p>
                  </a:txBody>
                  <a:tcPr/>
                </a:tc>
                <a:tc>
                  <a:txBody>
                    <a:bodyPr/>
                    <a:lstStyle/>
                    <a:p>
                      <a:pPr algn="l" fontAlgn="t"/>
                      <a:r>
                        <a:rPr lang="en-US" sz="2000">
                          <a:effectLst/>
                        </a:rPr>
                        <a:t>Service level objective of the data warehouse</a:t>
                      </a:r>
                    </a:p>
                  </a:txBody>
                  <a:tcPr/>
                </a:tc>
                <a:tc>
                  <a:txBody>
                    <a:bodyPr/>
                    <a:lstStyle/>
                    <a:p>
                      <a:pPr algn="l" fontAlgn="t"/>
                      <a:r>
                        <a:rPr lang="en-US" sz="2000" dirty="0">
                          <a:effectLst/>
                        </a:rPr>
                        <a:t>Avg, Min, Max</a:t>
                      </a:r>
                    </a:p>
                  </a:txBody>
                  <a:tcPr/>
                </a:tc>
                <a:extLst>
                  <a:ext uri="{0D108BD9-81ED-4DB2-BD59-A6C34878D82A}">
                    <a16:rowId xmlns:a16="http://schemas.microsoft.com/office/drawing/2014/main" val="1253915491"/>
                  </a:ext>
                </a:extLst>
              </a:tr>
              <a:tr h="370840">
                <a:tc>
                  <a:txBody>
                    <a:bodyPr/>
                    <a:lstStyle/>
                    <a:p>
                      <a:pPr algn="l" fontAlgn="t"/>
                      <a:r>
                        <a:rPr lang="en-US" sz="2000" dirty="0">
                          <a:effectLst/>
                        </a:rPr>
                        <a:t>DWU percentage</a:t>
                      </a:r>
                    </a:p>
                  </a:txBody>
                  <a:tcPr/>
                </a:tc>
                <a:tc>
                  <a:txBody>
                    <a:bodyPr/>
                    <a:lstStyle/>
                    <a:p>
                      <a:pPr algn="l" fontAlgn="t"/>
                      <a:r>
                        <a:rPr lang="en-US" sz="2000">
                          <a:effectLst/>
                        </a:rPr>
                        <a:t>Maximum between CPU percentage and Data IO percentage</a:t>
                      </a:r>
                    </a:p>
                  </a:txBody>
                  <a:tcPr/>
                </a:tc>
                <a:tc>
                  <a:txBody>
                    <a:bodyPr/>
                    <a:lstStyle/>
                    <a:p>
                      <a:pPr algn="l" fontAlgn="t"/>
                      <a:r>
                        <a:rPr lang="en-US" sz="2000">
                          <a:effectLst/>
                        </a:rPr>
                        <a:t>Avg, Min, Max</a:t>
                      </a:r>
                    </a:p>
                  </a:txBody>
                  <a:tcPr/>
                </a:tc>
                <a:extLst>
                  <a:ext uri="{0D108BD9-81ED-4DB2-BD59-A6C34878D82A}">
                    <a16:rowId xmlns:a16="http://schemas.microsoft.com/office/drawing/2014/main" val="2348874681"/>
                  </a:ext>
                </a:extLst>
              </a:tr>
              <a:tr h="370840">
                <a:tc>
                  <a:txBody>
                    <a:bodyPr/>
                    <a:lstStyle/>
                    <a:p>
                      <a:pPr algn="l" fontAlgn="t"/>
                      <a:r>
                        <a:rPr lang="en-US" sz="2000">
                          <a:effectLst/>
                        </a:rPr>
                        <a:t>DWU used</a:t>
                      </a:r>
                    </a:p>
                  </a:txBody>
                  <a:tcPr/>
                </a:tc>
                <a:tc>
                  <a:txBody>
                    <a:bodyPr/>
                    <a:lstStyle/>
                    <a:p>
                      <a:pPr algn="l" fontAlgn="t"/>
                      <a:r>
                        <a:rPr lang="en-US" sz="2000" dirty="0">
                          <a:effectLst/>
                        </a:rPr>
                        <a:t>DWU limit * DWU percentage</a:t>
                      </a:r>
                    </a:p>
                  </a:txBody>
                  <a:tcPr/>
                </a:tc>
                <a:tc>
                  <a:txBody>
                    <a:bodyPr/>
                    <a:lstStyle/>
                    <a:p>
                      <a:pPr algn="l" fontAlgn="t"/>
                      <a:r>
                        <a:rPr lang="en-US" sz="2000" dirty="0">
                          <a:effectLst/>
                        </a:rPr>
                        <a:t>Avg, Min, Max</a:t>
                      </a:r>
                    </a:p>
                  </a:txBody>
                  <a:tcPr/>
                </a:tc>
                <a:extLst>
                  <a:ext uri="{0D108BD9-81ED-4DB2-BD59-A6C34878D82A}">
                    <a16:rowId xmlns:a16="http://schemas.microsoft.com/office/drawing/2014/main" val="3852996106"/>
                  </a:ext>
                </a:extLst>
              </a:tr>
              <a:tr h="370840">
                <a:tc>
                  <a:txBody>
                    <a:bodyPr/>
                    <a:lstStyle/>
                    <a:p>
                      <a:pPr algn="l" fontAlgn="t"/>
                      <a:r>
                        <a:rPr lang="en-US" sz="2000">
                          <a:effectLst/>
                        </a:rPr>
                        <a:t>Cache hit percentage</a:t>
                      </a:r>
                    </a:p>
                  </a:txBody>
                  <a:tcPr/>
                </a:tc>
                <a:tc>
                  <a:txBody>
                    <a:bodyPr/>
                    <a:lstStyle/>
                    <a:p>
                      <a:pPr algn="l" fontAlgn="t"/>
                      <a:r>
                        <a:rPr lang="en-US" sz="2000" dirty="0">
                          <a:effectLst/>
                        </a:rPr>
                        <a:t>(cache hits / cache miss) * 100 where cache hits is the sum of all </a:t>
                      </a:r>
                      <a:r>
                        <a:rPr lang="en-US" sz="2000" dirty="0" err="1">
                          <a:effectLst/>
                        </a:rPr>
                        <a:t>columnstore</a:t>
                      </a:r>
                      <a:r>
                        <a:rPr lang="en-US" sz="2000" dirty="0">
                          <a:effectLst/>
                        </a:rPr>
                        <a:t> segments hits in the local SSD cache and cache miss is the </a:t>
                      </a:r>
                      <a:r>
                        <a:rPr lang="en-US" sz="2000" dirty="0" err="1">
                          <a:effectLst/>
                        </a:rPr>
                        <a:t>columnstore</a:t>
                      </a:r>
                      <a:r>
                        <a:rPr lang="en-US" sz="2000" dirty="0">
                          <a:effectLst/>
                        </a:rPr>
                        <a:t> segments misses in the local SSD cache summed across all nodes</a:t>
                      </a:r>
                    </a:p>
                  </a:txBody>
                  <a:tcPr/>
                </a:tc>
                <a:tc>
                  <a:txBody>
                    <a:bodyPr/>
                    <a:lstStyle/>
                    <a:p>
                      <a:pPr algn="l" fontAlgn="t"/>
                      <a:r>
                        <a:rPr lang="en-US" sz="2000">
                          <a:effectLst/>
                        </a:rPr>
                        <a:t>Avg, Min, Max</a:t>
                      </a:r>
                    </a:p>
                  </a:txBody>
                  <a:tcPr/>
                </a:tc>
                <a:extLst>
                  <a:ext uri="{0D108BD9-81ED-4DB2-BD59-A6C34878D82A}">
                    <a16:rowId xmlns:a16="http://schemas.microsoft.com/office/drawing/2014/main" val="2492694449"/>
                  </a:ext>
                </a:extLst>
              </a:tr>
              <a:tr h="370840">
                <a:tc>
                  <a:txBody>
                    <a:bodyPr/>
                    <a:lstStyle/>
                    <a:p>
                      <a:pPr algn="l" fontAlgn="t"/>
                      <a:r>
                        <a:rPr lang="en-US" sz="2000">
                          <a:effectLst/>
                        </a:rPr>
                        <a:t>Cache used percentage</a:t>
                      </a:r>
                    </a:p>
                  </a:txBody>
                  <a:tcPr/>
                </a:tc>
                <a:tc>
                  <a:txBody>
                    <a:bodyPr/>
                    <a:lstStyle/>
                    <a:p>
                      <a:pPr algn="l" fontAlgn="t"/>
                      <a:r>
                        <a:rPr lang="en-US" sz="2000">
                          <a:effectLst/>
                        </a:rPr>
                        <a:t>(cache used / cache capacity) * 100 where cache used is the sum of all bytes in the local SSD cache across all nodes and cache capacity is the sum of the storage capacity of the local SSD cache across all nodes</a:t>
                      </a:r>
                    </a:p>
                  </a:txBody>
                  <a:tcPr/>
                </a:tc>
                <a:tc>
                  <a:txBody>
                    <a:bodyPr/>
                    <a:lstStyle/>
                    <a:p>
                      <a:pPr algn="l" fontAlgn="t"/>
                      <a:r>
                        <a:rPr lang="en-US" sz="2000">
                          <a:effectLst/>
                        </a:rPr>
                        <a:t>Avg, Min, Max</a:t>
                      </a:r>
                    </a:p>
                  </a:txBody>
                  <a:tcPr/>
                </a:tc>
                <a:extLst>
                  <a:ext uri="{0D108BD9-81ED-4DB2-BD59-A6C34878D82A}">
                    <a16:rowId xmlns:a16="http://schemas.microsoft.com/office/drawing/2014/main" val="2328401464"/>
                  </a:ext>
                </a:extLst>
              </a:tr>
              <a:tr h="370840">
                <a:tc>
                  <a:txBody>
                    <a:bodyPr/>
                    <a:lstStyle/>
                    <a:p>
                      <a:pPr algn="l" fontAlgn="t"/>
                      <a:r>
                        <a:rPr lang="en-US" sz="2000" dirty="0">
                          <a:effectLst/>
                        </a:rPr>
                        <a:t>Local tempdb percentage</a:t>
                      </a:r>
                    </a:p>
                  </a:txBody>
                  <a:tcPr/>
                </a:tc>
                <a:tc>
                  <a:txBody>
                    <a:bodyPr/>
                    <a:lstStyle/>
                    <a:p>
                      <a:pPr algn="l" fontAlgn="t"/>
                      <a:r>
                        <a:rPr lang="en-US" sz="2000">
                          <a:effectLst/>
                        </a:rPr>
                        <a:t>Local tempdb utilization across all compute nodes - values are emitted every five minutes</a:t>
                      </a:r>
                    </a:p>
                  </a:txBody>
                  <a:tcPr/>
                </a:tc>
                <a:tc>
                  <a:txBody>
                    <a:bodyPr/>
                    <a:lstStyle/>
                    <a:p>
                      <a:pPr algn="l" fontAlgn="t"/>
                      <a:r>
                        <a:rPr lang="en-US" sz="2000" dirty="0">
                          <a:effectLst/>
                        </a:rPr>
                        <a:t>Avg, Min, Max</a:t>
                      </a:r>
                    </a:p>
                  </a:txBody>
                  <a:tcPr/>
                </a:tc>
                <a:extLst>
                  <a:ext uri="{0D108BD9-81ED-4DB2-BD59-A6C34878D82A}">
                    <a16:rowId xmlns:a16="http://schemas.microsoft.com/office/drawing/2014/main" val="1171311849"/>
                  </a:ext>
                </a:extLst>
              </a:tr>
            </a:tbl>
          </a:graphicData>
        </a:graphic>
      </p:graphicFrame>
    </p:spTree>
    <p:extLst>
      <p:ext uri="{BB962C8B-B14F-4D97-AF65-F5344CB8AC3E}">
        <p14:creationId xmlns:p14="http://schemas.microsoft.com/office/powerpoint/2010/main" val="3838461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61060-6E4B-48A9-8C8F-086B09BAAEA1}"/>
              </a:ext>
            </a:extLst>
          </p:cNvPr>
          <p:cNvSpPr>
            <a:spLocks noGrp="1"/>
          </p:cNvSpPr>
          <p:nvPr>
            <p:ph type="title"/>
          </p:nvPr>
        </p:nvSpPr>
        <p:spPr/>
        <p:txBody>
          <a:bodyPr/>
          <a:lstStyle/>
          <a:p>
            <a:r>
              <a:rPr lang="en-US" dirty="0"/>
              <a:t>Available Metrics for Synapse</a:t>
            </a:r>
          </a:p>
        </p:txBody>
      </p:sp>
      <p:graphicFrame>
        <p:nvGraphicFramePr>
          <p:cNvPr id="6" name="Content Placeholder 5">
            <a:extLst>
              <a:ext uri="{FF2B5EF4-FFF2-40B4-BE49-F238E27FC236}">
                <a16:creationId xmlns:a16="http://schemas.microsoft.com/office/drawing/2014/main" id="{882DAFE5-775C-4C58-AE9A-6C4CE21EE46D}"/>
              </a:ext>
            </a:extLst>
          </p:cNvPr>
          <p:cNvGraphicFramePr>
            <a:graphicFrameLocks noGrp="1"/>
          </p:cNvGraphicFramePr>
          <p:nvPr>
            <p:ph sz="quarter" idx="13"/>
            <p:extLst>
              <p:ext uri="{D42A27DB-BD31-4B8C-83A1-F6EECF244321}">
                <p14:modId xmlns:p14="http://schemas.microsoft.com/office/powerpoint/2010/main" val="3015019007"/>
              </p:ext>
            </p:extLst>
          </p:nvPr>
        </p:nvGraphicFramePr>
        <p:xfrm>
          <a:off x="668785" y="1123056"/>
          <a:ext cx="11420933" cy="52286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653A580A-4010-4637-8DA8-9F5AF48286BC}"/>
              </a:ext>
            </a:extLst>
          </p:cNvPr>
          <p:cNvSpPr txBox="1"/>
          <p:nvPr/>
        </p:nvSpPr>
        <p:spPr>
          <a:xfrm>
            <a:off x="5908353" y="6529155"/>
            <a:ext cx="6847242" cy="369332"/>
          </a:xfrm>
          <a:prstGeom prst="rect">
            <a:avLst/>
          </a:prstGeom>
          <a:noFill/>
        </p:spPr>
        <p:txBody>
          <a:bodyPr wrap="square">
            <a:spAutoFit/>
          </a:bodyPr>
          <a:lstStyle/>
          <a:p>
            <a:r>
              <a:rPr lang="en-US" dirty="0"/>
              <a:t>Note: Aggregations are in relation to time granularity specified</a:t>
            </a:r>
          </a:p>
        </p:txBody>
      </p:sp>
    </p:spTree>
    <p:extLst>
      <p:ext uri="{BB962C8B-B14F-4D97-AF65-F5344CB8AC3E}">
        <p14:creationId xmlns:p14="http://schemas.microsoft.com/office/powerpoint/2010/main" val="38042122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DE99F-5F62-4D0F-B37A-522AD88403D0}"/>
              </a:ext>
            </a:extLst>
          </p:cNvPr>
          <p:cNvSpPr>
            <a:spLocks noGrp="1"/>
          </p:cNvSpPr>
          <p:nvPr>
            <p:ph type="title"/>
          </p:nvPr>
        </p:nvSpPr>
        <p:spPr/>
        <p:txBody>
          <a:bodyPr/>
          <a:lstStyle/>
          <a:p>
            <a:r>
              <a:rPr lang="en-US" dirty="0"/>
              <a:t>Hands-on: Configure charts in Azure Metrics</a:t>
            </a:r>
          </a:p>
        </p:txBody>
      </p:sp>
    </p:spTree>
    <p:extLst>
      <p:ext uri="{BB962C8B-B14F-4D97-AF65-F5344CB8AC3E}">
        <p14:creationId xmlns:p14="http://schemas.microsoft.com/office/powerpoint/2010/main" val="3385267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EB95863F-80A5-4395-BC99-D256B2677DFB}"/>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049C9B04-611F-4F96-A503-3B399F13ECCB}"/>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Master_Template_Synapse.pptx" id="{79629E0D-DE60-400E-921E-E5299AF045D4}" vid="{9ECA069C-25CC-4AD7-B7CC-2502A7655AAE}"/>
    </a:ext>
  </a:extLst>
</a:theme>
</file>

<file path=ppt/theme/theme4.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EB95863F-80A5-4395-BC99-D256B2677DFB}"/>
    </a:ext>
  </a:extLst>
</a:theme>
</file>

<file path=ppt/theme/theme5.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66b6bb9-0c3b-4baf-b7e0-24038b18f231">
      <UserInfo>
        <DisplayName>DW PFE Ramp-up Members</DisplayName>
        <AccountId>7</AccountId>
        <AccountType/>
      </UserInfo>
    </SharedWithUsers>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4.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81A5550D-B138-4182-9A9D-4110A11BBE58}">
  <ds:schemaRefs>
    <ds:schemaRef ds:uri="Strauss.PersonalizationDefinition"/>
  </ds:schemaRefs>
</ds:datastoreItem>
</file>

<file path=customXml/itemProps10.xml><?xml version="1.0" encoding="utf-8"?>
<ds:datastoreItem xmlns:ds="http://schemas.openxmlformats.org/officeDocument/2006/customXml" ds:itemID="{C0E05345-A91D-419B-B0E8-B919278FB477}">
  <ds:schemaRefs>
    <ds:schemaRef ds:uri="Strauss.PersonalizationDefinition"/>
  </ds:schemaRefs>
</ds:datastoreItem>
</file>

<file path=customXml/itemProps11.xml><?xml version="1.0" encoding="utf-8"?>
<ds:datastoreItem xmlns:ds="http://schemas.openxmlformats.org/officeDocument/2006/customXml" ds:itemID="{F990F116-B58F-4255-B05B-DA3808E0E5C6}">
  <ds:schemaRefs>
    <ds:schemaRef ds:uri="http://schemas.microsoft.com/office/2006/documentManagement/types"/>
    <ds:schemaRef ds:uri="http://purl.org/dc/dcmitype/"/>
    <ds:schemaRef ds:uri="http://www.w3.org/XML/1998/namespace"/>
    <ds:schemaRef ds:uri="http://purl.org/dc/elements/1.1/"/>
    <ds:schemaRef ds:uri="http://schemas.microsoft.com/sharepoint/v3"/>
    <ds:schemaRef ds:uri="http://purl.org/dc/terms/"/>
    <ds:schemaRef ds:uri="ac57c417-f8e7-4332-a7b2-e7f34f734ebc"/>
    <ds:schemaRef ds:uri="http://schemas.microsoft.com/office/infopath/2007/PartnerControls"/>
    <ds:schemaRef ds:uri="http://schemas.openxmlformats.org/package/2006/metadata/core-properties"/>
    <ds:schemaRef ds:uri="40650e35-5471-45d3-b28a-3f2a8b1bc025"/>
    <ds:schemaRef ds:uri="http://schemas.microsoft.com/office/2006/metadata/properties"/>
    <ds:schemaRef ds:uri="b66b6bb9-0c3b-4baf-b7e0-24038b18f231"/>
    <ds:schemaRef ds:uri="0b15a96f-9efd-4f0c-b199-c53b2a01cb9d"/>
    <ds:schemaRef ds:uri="6cd3d847-4521-4863-8800-2cff076dfc18"/>
    <ds:schemaRef ds:uri="230e9df3-be65-4c73-a93b-d1236ebd677e"/>
  </ds:schemaRefs>
</ds:datastoreItem>
</file>

<file path=customXml/itemProps1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13.xml><?xml version="1.0" encoding="utf-8"?>
<ds:datastoreItem xmlns:ds="http://schemas.openxmlformats.org/officeDocument/2006/customXml" ds:itemID="{14CA8128-2005-44FE-9899-945704087947}">
  <ds:schemaRefs>
    <ds:schemaRef ds:uri="Strauss.PersonalizationDefinition"/>
  </ds:schemaRefs>
</ds:datastoreItem>
</file>

<file path=customXml/itemProps14.xml><?xml version="1.0" encoding="utf-8"?>
<ds:datastoreItem xmlns:ds="http://schemas.openxmlformats.org/officeDocument/2006/customXml" ds:itemID="{61B644D8-579F-4CD3-AAB0-1F8C14FAB633}">
  <ds:schemaRefs>
    <ds:schemaRef ds:uri="Strauss.PersonalizationDefinition"/>
  </ds:schemaRefs>
</ds:datastoreItem>
</file>

<file path=customXml/itemProps15.xml><?xml version="1.0" encoding="utf-8"?>
<ds:datastoreItem xmlns:ds="http://schemas.openxmlformats.org/officeDocument/2006/customXml" ds:itemID="{9360C63E-D4FE-4327-B25F-3938EACFB3D8}">
  <ds:schemaRefs>
    <ds:schemaRef ds:uri="Strauss.PersonalizationDefinition"/>
  </ds:schemaRefs>
</ds:datastoreItem>
</file>

<file path=customXml/itemProps16.xml><?xml version="1.0" encoding="utf-8"?>
<ds:datastoreItem xmlns:ds="http://schemas.openxmlformats.org/officeDocument/2006/customXml" ds:itemID="{438EC48D-AE94-4E06-A98F-1E5802C810F3}">
  <ds:schemaRefs>
    <ds:schemaRef ds:uri="Strauss.PersonalizationDefinition"/>
  </ds:schemaRefs>
</ds:datastoreItem>
</file>

<file path=customXml/itemProps17.xml><?xml version="1.0" encoding="utf-8"?>
<ds:datastoreItem xmlns:ds="http://schemas.openxmlformats.org/officeDocument/2006/customXml" ds:itemID="{4B88C5FF-6E80-481D-AD09-8093356DF4FE}">
  <ds:schemaRefs>
    <ds:schemaRef ds:uri="Strauss.PersonalizationDefinition"/>
  </ds:schemaRefs>
</ds:datastoreItem>
</file>

<file path=customXml/itemProps18.xml><?xml version="1.0" encoding="utf-8"?>
<ds:datastoreItem xmlns:ds="http://schemas.openxmlformats.org/officeDocument/2006/customXml" ds:itemID="{C9789EF5-44E4-42E3-AE64-5EC67C551EA8}">
  <ds:schemaRefs>
    <ds:schemaRef ds:uri="Strauss.PersonalizationDefinition"/>
  </ds:schemaRefs>
</ds:datastoreItem>
</file>

<file path=customXml/itemProps19.xml><?xml version="1.0" encoding="utf-8"?>
<ds:datastoreItem xmlns:ds="http://schemas.openxmlformats.org/officeDocument/2006/customXml" ds:itemID="{19FECE30-EC04-4590-A1C2-B80B21B6C93F}">
  <ds:schemaRefs>
    <ds:schemaRef ds:uri="Strauss.PersonalizationDefinition"/>
  </ds:schemaRefs>
</ds:datastoreItem>
</file>

<file path=customXml/itemProps2.xml><?xml version="1.0" encoding="utf-8"?>
<ds:datastoreItem xmlns:ds="http://schemas.openxmlformats.org/officeDocument/2006/customXml" ds:itemID="{0FF3821D-23CD-4311-A406-1EB7B9E12D2D}">
  <ds:schemaRefs>
    <ds:schemaRef ds:uri="Strauss.PersonalizationDefinition"/>
  </ds:schemaRefs>
</ds:datastoreItem>
</file>

<file path=customXml/itemProps20.xml><?xml version="1.0" encoding="utf-8"?>
<ds:datastoreItem xmlns:ds="http://schemas.openxmlformats.org/officeDocument/2006/customXml" ds:itemID="{20A4449D-614A-4553-88DF-15E310E637B2}">
  <ds:schemaRefs>
    <ds:schemaRef ds:uri="Strauss.PersonalizationDefinition"/>
  </ds:schemaRefs>
</ds:datastoreItem>
</file>

<file path=customXml/itemProps21.xml><?xml version="1.0" encoding="utf-8"?>
<ds:datastoreItem xmlns:ds="http://schemas.openxmlformats.org/officeDocument/2006/customXml" ds:itemID="{1E7B3500-0F21-43C7-8548-FDD76CECDBC1}">
  <ds:schemaRefs>
    <ds:schemaRef ds:uri="Strauss.PersonalizationDefinition"/>
  </ds:schemaRefs>
</ds:datastoreItem>
</file>

<file path=customXml/itemProps22.xml><?xml version="1.0" encoding="utf-8"?>
<ds:datastoreItem xmlns:ds="http://schemas.openxmlformats.org/officeDocument/2006/customXml" ds:itemID="{4DA099C6-07DF-4D4F-A15D-B85A3136AD75}">
  <ds:schemaRefs>
    <ds:schemaRef ds:uri="Strauss.PersonalizationDefinition"/>
  </ds:schemaRefs>
</ds:datastoreItem>
</file>

<file path=customXml/itemProps23.xml><?xml version="1.0" encoding="utf-8"?>
<ds:datastoreItem xmlns:ds="http://schemas.openxmlformats.org/officeDocument/2006/customXml" ds:itemID="{D302A1B0-BBBE-4A95-9EE5-1D0BB9693045}">
  <ds:schemaRefs>
    <ds:schemaRef ds:uri="Strauss.PersonalizationDefinition"/>
  </ds:schemaRefs>
</ds:datastoreItem>
</file>

<file path=customXml/itemProps24.xml><?xml version="1.0" encoding="utf-8"?>
<ds:datastoreItem xmlns:ds="http://schemas.openxmlformats.org/officeDocument/2006/customXml" ds:itemID="{4FA05236-4C79-4788-88F2-725BE3A1CB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4F53A6-A390-4AC1-9514-A872C86466EC}">
  <ds:schemaRefs>
    <ds:schemaRef ds:uri="Strauss.PersonalizationDefinition"/>
  </ds:schemaRefs>
</ds:datastoreItem>
</file>

<file path=customXml/itemProps4.xml><?xml version="1.0" encoding="utf-8"?>
<ds:datastoreItem xmlns:ds="http://schemas.openxmlformats.org/officeDocument/2006/customXml" ds:itemID="{080C3FFF-A42D-4145-A4D2-796B359819E1}">
  <ds:schemaRefs>
    <ds:schemaRef ds:uri="Strauss.PersonalizationDefinition"/>
  </ds:schemaRefs>
</ds:datastoreItem>
</file>

<file path=customXml/itemProps5.xml><?xml version="1.0" encoding="utf-8"?>
<ds:datastoreItem xmlns:ds="http://schemas.openxmlformats.org/officeDocument/2006/customXml" ds:itemID="{C68DFDA4-9A7D-4A03-88F7-3F01D0044E37}">
  <ds:schemaRefs>
    <ds:schemaRef ds:uri="Strauss.PersonalizationDefinition"/>
  </ds:schemaRefs>
</ds:datastoreItem>
</file>

<file path=customXml/itemProps6.xml><?xml version="1.0" encoding="utf-8"?>
<ds:datastoreItem xmlns:ds="http://schemas.openxmlformats.org/officeDocument/2006/customXml" ds:itemID="{B8771E8B-20B3-470C-9F0F-9C4772186AD7}">
  <ds:schemaRefs>
    <ds:schemaRef ds:uri="Strauss.PersonalizationDefinition"/>
  </ds:schemaRefs>
</ds:datastoreItem>
</file>

<file path=customXml/itemProps7.xml><?xml version="1.0" encoding="utf-8"?>
<ds:datastoreItem xmlns:ds="http://schemas.openxmlformats.org/officeDocument/2006/customXml" ds:itemID="{772CAEB3-F6A6-459B-BBBC-D05E94E0B7A0}">
  <ds:schemaRefs>
    <ds:schemaRef ds:uri="Strauss.PersonalizationDefinition"/>
  </ds:schemaRefs>
</ds:datastoreItem>
</file>

<file path=customXml/itemProps8.xml><?xml version="1.0" encoding="utf-8"?>
<ds:datastoreItem xmlns:ds="http://schemas.openxmlformats.org/officeDocument/2006/customXml" ds:itemID="{2C769A66-74A2-4E9C-9600-ED8B86BDB161}">
  <ds:schemaRefs>
    <ds:schemaRef ds:uri="Strauss.PersonalizationDefinition"/>
  </ds:schemaRefs>
</ds:datastoreItem>
</file>

<file path=customXml/itemProps9.xml><?xml version="1.0" encoding="utf-8"?>
<ds:datastoreItem xmlns:ds="http://schemas.openxmlformats.org/officeDocument/2006/customXml" ds:itemID="{E521B47F-9BA6-4D26-BFF4-2A2AEFF6009A}">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PTO Module template</Template>
  <TotalTime>1172</TotalTime>
  <Words>1749</Words>
  <Application>Microsoft Office PowerPoint</Application>
  <PresentationFormat>Custom</PresentationFormat>
  <Paragraphs>269</Paragraphs>
  <Slides>29</Slides>
  <Notes>21</Notes>
  <HiddenSlides>1</HiddenSlides>
  <MMClips>0</MMClips>
  <ScaleCrop>false</ScaleCrop>
  <HeadingPairs>
    <vt:vector size="6" baseType="variant">
      <vt:variant>
        <vt:lpstr>Fonts Used</vt:lpstr>
      </vt:variant>
      <vt:variant>
        <vt:i4>10</vt:i4>
      </vt:variant>
      <vt:variant>
        <vt:lpstr>Theme</vt:lpstr>
      </vt:variant>
      <vt:variant>
        <vt:i4>5</vt:i4>
      </vt:variant>
      <vt:variant>
        <vt:lpstr>Slide Titles</vt:lpstr>
      </vt:variant>
      <vt:variant>
        <vt:i4>29</vt:i4>
      </vt:variant>
    </vt:vector>
  </HeadingPairs>
  <TitlesOfParts>
    <vt:vector size="44" baseType="lpstr">
      <vt:lpstr>Arial</vt:lpstr>
      <vt:lpstr>Calibri</vt:lpstr>
      <vt:lpstr>Calibri Light</vt:lpstr>
      <vt:lpstr>Comic Sans MS</vt:lpstr>
      <vt:lpstr>Consolas</vt:lpstr>
      <vt:lpstr>Segoe UI</vt:lpstr>
      <vt:lpstr>Segoe UI Light</vt:lpstr>
      <vt:lpstr>Segoe UI Semibold</vt:lpstr>
      <vt:lpstr>Times New Roman</vt:lpstr>
      <vt:lpstr>Wingdings</vt:lpstr>
      <vt:lpstr>WHITE TEMPLATE</vt:lpstr>
      <vt:lpstr>COLOR TEMPLATE</vt:lpstr>
      <vt:lpstr>Dark Blue</vt:lpstr>
      <vt:lpstr>1_WHITE TEMPLATE</vt:lpstr>
      <vt:lpstr>Dark Blue</vt:lpstr>
      <vt:lpstr>Workload Analysis and Optimization</vt:lpstr>
      <vt:lpstr>Learning units covered in this module</vt:lpstr>
      <vt:lpstr>Lesson 1: Azure Metrics for Synapse</vt:lpstr>
      <vt:lpstr>Objectives</vt:lpstr>
      <vt:lpstr>What is Azure Metrics</vt:lpstr>
      <vt:lpstr>Available metrics for Synapse (1)</vt:lpstr>
      <vt:lpstr>Available metrics for Synapse (2)</vt:lpstr>
      <vt:lpstr>Available Metrics for Synapse</vt:lpstr>
      <vt:lpstr>Hands-on: Configure charts in Azure Metrics</vt:lpstr>
      <vt:lpstr>Lesson 2: Azure Log Analytics for Synapse</vt:lpstr>
      <vt:lpstr>Objectives</vt:lpstr>
      <vt:lpstr>What is Log Analytics?</vt:lpstr>
      <vt:lpstr>Enabling Log Analytics for Synapse</vt:lpstr>
      <vt:lpstr>Hands-on: KQL queries against Log Analytics</vt:lpstr>
      <vt:lpstr>Lesson 3: Build an Azure Dashboard to monitor Synapse</vt:lpstr>
      <vt:lpstr>Objectives</vt:lpstr>
      <vt:lpstr>Azure Dashboards</vt:lpstr>
      <vt:lpstr>Hands-on: Build and Azure Dashboard to monitor Synapse</vt:lpstr>
      <vt:lpstr>Lesson 4: Identify workload issues</vt:lpstr>
      <vt:lpstr>Objectives</vt:lpstr>
      <vt:lpstr>Common Workload Issues</vt:lpstr>
      <vt:lpstr>Hands-on : Identify Workload Issues </vt:lpstr>
      <vt:lpstr>Lesson 5: Evaluate Service-Level-Objective</vt:lpstr>
      <vt:lpstr>Objectives</vt:lpstr>
      <vt:lpstr>Evaluation Criteria</vt:lpstr>
      <vt:lpstr>Impact of Scaling up</vt:lpstr>
      <vt:lpstr>Hands-on: Evaluate Current SLO</vt:lpstr>
      <vt:lpstr>Knowledge Check – Workload analysis and Optimization</vt:lpstr>
      <vt:lpstr>Microsoft</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ynapse SQL Pools Statistics</dc:title>
  <dc:subject>&lt;Speech title here&gt;</dc:subject>
  <dc:creator>Nick Salch;Filipe.Moreira@microsoft.com</dc:creator>
  <cp:keywords/>
  <dc:description>Template: Maryfj_x000d_
Formatting: _x000d_
Audience Type:</dc:description>
  <cp:lastModifiedBy>John Deardurff</cp:lastModifiedBy>
  <cp:revision>11</cp:revision>
  <dcterms:created xsi:type="dcterms:W3CDTF">2018-01-26T18:32:04Z</dcterms:created>
  <dcterms:modified xsi:type="dcterms:W3CDTF">2022-02-16T00:11:42Z</dcterms:modified>
  <cp:category>Workshop Plu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44018ff3-f7cd-49ec-be29-23dee7970696</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Owner">
    <vt:lpwstr>sanair@microsoft.com</vt:lpwstr>
  </property>
  <property fmtid="{D5CDD505-2E9C-101B-9397-08002B2CF9AE}" pid="16" name="MSIP_Label_f42aa342-8706-4288-bd11-ebb85995028c_SetDate">
    <vt:lpwstr>2017-10-04T13:15:56.0607831-07:00</vt:lpwstr>
  </property>
  <property fmtid="{D5CDD505-2E9C-101B-9397-08002B2CF9AE}" pid="17" name="MSIP_Label_f42aa342-8706-4288-bd11-ebb85995028c_Name">
    <vt:lpwstr>General</vt:lpwstr>
  </property>
  <property fmtid="{D5CDD505-2E9C-101B-9397-08002B2CF9AE}" pid="18" name="MSIP_Label_f42aa342-8706-4288-bd11-ebb85995028c_Application">
    <vt:lpwstr>Microsoft Azure Information Protection</vt:lpwstr>
  </property>
  <property fmtid="{D5CDD505-2E9C-101B-9397-08002B2CF9AE}" pid="19" name="MSIP_Label_f42aa342-8706-4288-bd11-ebb85995028c_Extended_MSFT_Method">
    <vt:lpwstr>Automatic</vt:lpwstr>
  </property>
  <property fmtid="{D5CDD505-2E9C-101B-9397-08002B2CF9AE}" pid="20" name="Sensitivity">
    <vt:lpwstr>General</vt:lpwstr>
  </property>
  <property fmtid="{D5CDD505-2E9C-101B-9397-08002B2CF9AE}" pid="21" name="MediaServiceImageTags">
    <vt:lpwstr/>
  </property>
</Properties>
</file>